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9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12.xml" ContentType="application/vnd.openxmlformats-officedocument.theme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5.xml" ContentType="application/vnd.openxmlformats-officedocument.presentationml.notesSlide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7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6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2" r:id="rId4"/>
    <p:sldMasterId id="2147483694" r:id="rId5"/>
    <p:sldMasterId id="2147483701" r:id="rId6"/>
    <p:sldMasterId id="2147483724" r:id="rId7"/>
    <p:sldMasterId id="2147483727" r:id="rId8"/>
    <p:sldMasterId id="2147483752" r:id="rId9"/>
    <p:sldMasterId id="2147483759" r:id="rId10"/>
    <p:sldMasterId id="2147483808" r:id="rId11"/>
    <p:sldMasterId id="2147483880" r:id="rId12"/>
    <p:sldMasterId id="2147483903" r:id="rId13"/>
    <p:sldMasterId id="2147483928" r:id="rId14"/>
    <p:sldMasterId id="2147483931" r:id="rId15"/>
    <p:sldMasterId id="2147483952" r:id="rId16"/>
  </p:sldMasterIdLst>
  <p:notesMasterIdLst>
    <p:notesMasterId r:id="rId51"/>
  </p:notesMasterIdLst>
  <p:sldIdLst>
    <p:sldId id="257" r:id="rId17"/>
    <p:sldId id="264" r:id="rId18"/>
    <p:sldId id="266" r:id="rId19"/>
    <p:sldId id="256" r:id="rId20"/>
    <p:sldId id="258" r:id="rId21"/>
    <p:sldId id="2147483646" r:id="rId22"/>
    <p:sldId id="2147472450" r:id="rId23"/>
    <p:sldId id="283" r:id="rId24"/>
    <p:sldId id="2147375995" r:id="rId25"/>
    <p:sldId id="277" r:id="rId26"/>
    <p:sldId id="2147376456" r:id="rId27"/>
    <p:sldId id="2147482695" r:id="rId28"/>
    <p:sldId id="267" r:id="rId29"/>
    <p:sldId id="2147472497" r:id="rId30"/>
    <p:sldId id="2147472551" r:id="rId31"/>
    <p:sldId id="261" r:id="rId32"/>
    <p:sldId id="262" r:id="rId33"/>
    <p:sldId id="2147472538" r:id="rId34"/>
    <p:sldId id="2147472553" r:id="rId35"/>
    <p:sldId id="2147375974" r:id="rId36"/>
    <p:sldId id="279" r:id="rId37"/>
    <p:sldId id="263" r:id="rId38"/>
    <p:sldId id="259" r:id="rId39"/>
    <p:sldId id="260" r:id="rId40"/>
    <p:sldId id="2147376457" r:id="rId41"/>
    <p:sldId id="268" r:id="rId42"/>
    <p:sldId id="269" r:id="rId43"/>
    <p:sldId id="2147472501" r:id="rId44"/>
    <p:sldId id="2147483647" r:id="rId45"/>
    <p:sldId id="2147376436" r:id="rId46"/>
    <p:sldId id="281" r:id="rId47"/>
    <p:sldId id="2147482696" r:id="rId48"/>
    <p:sldId id="2147482693" r:id="rId49"/>
    <p:sldId id="2147376349" r:id="rId50"/>
  </p:sldIdLst>
  <p:sldSz cx="24382413" cy="13716000"/>
  <p:notesSz cx="6858000" cy="9144000"/>
  <p:custDataLst>
    <p:tags r:id="rId52"/>
  </p:custDataLst>
  <p:defaultTextStyle>
    <a:defPPr marL="0" marR="0" indent="0" algn="l" defTabSz="1828709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914354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1828709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2743063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3657417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4571771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5486126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6400480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7314834" algn="ctr" defTabSz="487643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48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521415D9-36F7-43E2-AB2F-B90AF26B5E84}">
      <p14:sectionLst xmlns:p14="http://schemas.microsoft.com/office/powerpoint/2010/main">
        <p14:section name="Default Section" id="{D7AC3647-83E1-844A-AD72-FA853FD45DF8}">
          <p14:sldIdLst>
            <p14:sldId id="257"/>
          </p14:sldIdLst>
        </p14:section>
        <p14:section name="Introduction &amp; &quot;hook&quot;" id="{ABC2BC48-551B-AF47-AACC-3F8E8B7AD052}">
          <p14:sldIdLst>
            <p14:sldId id="264"/>
            <p14:sldId id="266"/>
          </p14:sldIdLst>
        </p14:section>
        <p14:section name="Siemens Intro" id="{98A03C1E-9DCF-214C-B657-E0F9FFDEC5F2}">
          <p14:sldIdLst>
            <p14:sldId id="256"/>
            <p14:sldId id="258"/>
            <p14:sldId id="2147483646"/>
          </p14:sldIdLst>
        </p14:section>
        <p14:section name="Siemens GHG ambitions" id="{3598B5AC-2398-4A44-95C1-4B1F10CAF7AB}">
          <p14:sldIdLst>
            <p14:sldId id="2147472450"/>
          </p14:sldIdLst>
        </p14:section>
        <p14:section name="The challenge: operationalizing this ambition" id="{323BD658-166A-7647-858A-A2DEF89E0C15}">
          <p14:sldIdLst>
            <p14:sldId id="283"/>
            <p14:sldId id="2147375995"/>
          </p14:sldIdLst>
        </p14:section>
        <p14:section name="solution: ctrl+s tools. Highlight USP's" id="{47071CF7-12C2-BF48-83C0-B26E2C1FB4A7}">
          <p14:sldIdLst>
            <p14:sldId id="277"/>
            <p14:sldId id="2147376456"/>
            <p14:sldId id="2147482695"/>
            <p14:sldId id="267"/>
            <p14:sldId id="2147472497"/>
            <p14:sldId id="2147472551"/>
          </p14:sldIdLst>
        </p14:section>
        <p14:section name="what happens in the engine room" id="{AE39B552-F150-E24B-863B-F485E3E9330D}">
          <p14:sldIdLst>
            <p14:sldId id="261"/>
            <p14:sldId id="262"/>
          </p14:sldIdLst>
        </p14:section>
        <p14:section name="how the process works in practice" id="{8D435F61-3436-E94B-A383-C86010FA6025}">
          <p14:sldIdLst>
            <p14:sldId id="2147472538"/>
            <p14:sldId id="2147472553"/>
          </p14:sldIdLst>
        </p14:section>
        <p14:section name="results" id="{A24692FB-074B-F245-9785-60109E2565E6}">
          <p14:sldIdLst>
            <p14:sldId id="2147375974"/>
            <p14:sldId id="279"/>
          </p14:sldIdLst>
        </p14:section>
        <p14:section name="Backup - slide pool" id="{22B5EF6E-09D7-C147-B80E-CD718308227B}">
          <p14:sldIdLst>
            <p14:sldId id="263"/>
            <p14:sldId id="259"/>
            <p14:sldId id="260"/>
            <p14:sldId id="2147376457"/>
            <p14:sldId id="268"/>
            <p14:sldId id="269"/>
            <p14:sldId id="2147472501"/>
            <p14:sldId id="2147483647"/>
            <p14:sldId id="2147376436"/>
            <p14:sldId id="281"/>
            <p14:sldId id="2147482696"/>
            <p14:sldId id="2147482693"/>
            <p14:sldId id="214737634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096F72-09F5-DE4B-82E9-77DC95E034A2}" v="20" dt="2025-06-17T13:40:17.582"/>
    <p1510:client id="{5C91F56F-DE45-AE43-BCCA-EC9A8E6D85ED}" v="58" dt="2025-06-17T14:07:45.309"/>
    <p1510:client id="{676DAD69-A164-3B4F-8D81-70A406248B68}" v="82" dt="2025-06-17T12:54:13.247"/>
    <p1510:client id="{C8D08CAD-5F3A-EB4B-A3E2-224F1AA61AB2}" v="346" dt="2025-06-17T13:01:58.318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699"/>
  </p:normalViewPr>
  <p:slideViewPr>
    <p:cSldViewPr snapToGrid="0">
      <p:cViewPr varScale="1">
        <p:scale>
          <a:sx n="57" d="100"/>
          <a:sy n="57" d="100"/>
        </p:scale>
        <p:origin x="57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evendans, Tjeerd (SCM FE GF PP)" userId="d28c39a9-8d57-4727-941b-53d4efee6083" providerId="ADAL" clId="{2CE01A20-A606-42BD-91FE-1ADE0AAAEF2D}"/>
    <pc:docChg chg="undo custSel modSld">
      <pc:chgData name="Doevendans, Tjeerd (SCM FE GF PP)" userId="d28c39a9-8d57-4727-941b-53d4efee6083" providerId="ADAL" clId="{2CE01A20-A606-42BD-91FE-1ADE0AAAEF2D}" dt="2025-03-17T15:28:26.012" v="155" actId="20577"/>
      <pc:docMkLst>
        <pc:docMk/>
      </pc:docMkLst>
      <pc:sldChg chg="addSp delSp modSp mod">
        <pc:chgData name="Doevendans, Tjeerd (SCM FE GF PP)" userId="d28c39a9-8d57-4727-941b-53d4efee6083" providerId="ADAL" clId="{2CE01A20-A606-42BD-91FE-1ADE0AAAEF2D}" dt="2025-03-17T15:25:30.121" v="146" actId="20577"/>
        <pc:sldMkLst>
          <pc:docMk/>
          <pc:sldMk cId="2011105564" sldId="256"/>
        </pc:sldMkLst>
      </pc:sldChg>
      <pc:sldChg chg="addSp delSp modSp mod modAnim">
        <pc:chgData name="Doevendans, Tjeerd (SCM FE GF PP)" userId="d28c39a9-8d57-4727-941b-53d4efee6083" providerId="ADAL" clId="{2CE01A20-A606-42BD-91FE-1ADE0AAAEF2D}" dt="2025-03-17T10:59:58.295" v="125"/>
        <pc:sldMkLst>
          <pc:docMk/>
          <pc:sldMk cId="1072157417" sldId="258"/>
        </pc:sldMkLst>
      </pc:sldChg>
      <pc:sldChg chg="addSp modSp mod">
        <pc:chgData name="Doevendans, Tjeerd (SCM FE GF PP)" userId="d28c39a9-8d57-4727-941b-53d4efee6083" providerId="ADAL" clId="{2CE01A20-A606-42BD-91FE-1ADE0AAAEF2D}" dt="2025-03-17T15:27:02.355" v="153" actId="20577"/>
        <pc:sldMkLst>
          <pc:docMk/>
          <pc:sldMk cId="2004678249" sldId="283"/>
        </pc:sldMkLst>
      </pc:sldChg>
      <pc:sldChg chg="addSp delSp modSp mod modAnim">
        <pc:chgData name="Doevendans, Tjeerd (SCM FE GF PP)" userId="d28c39a9-8d57-4727-941b-53d4efee6083" providerId="ADAL" clId="{2CE01A20-A606-42BD-91FE-1ADE0AAAEF2D}" dt="2025-03-17T15:28:26.012" v="155" actId="20577"/>
        <pc:sldMkLst>
          <pc:docMk/>
          <pc:sldMk cId="55359924" sldId="2147375974"/>
        </pc:sldMkLst>
      </pc:sldChg>
      <pc:sldChg chg="addSp delSp modSp mod delAnim modAnim">
        <pc:chgData name="Doevendans, Tjeerd (SCM FE GF PP)" userId="d28c39a9-8d57-4727-941b-53d4efee6083" providerId="ADAL" clId="{2CE01A20-A606-42BD-91FE-1ADE0AAAEF2D}" dt="2025-03-17T15:23:06.125" v="137" actId="478"/>
        <pc:sldMkLst>
          <pc:docMk/>
          <pc:sldMk cId="2674116732" sldId="2147472450"/>
        </pc:sldMkLst>
      </pc:sldChg>
      <pc:sldChg chg="addSp modSp modAnim">
        <pc:chgData name="Doevendans, Tjeerd (SCM FE GF PP)" userId="d28c39a9-8d57-4727-941b-53d4efee6083" providerId="ADAL" clId="{2CE01A20-A606-42BD-91FE-1ADE0AAAEF2D}" dt="2025-03-17T15:24:04.724" v="141"/>
        <pc:sldMkLst>
          <pc:docMk/>
          <pc:sldMk cId="386759398" sldId="2147472553"/>
        </pc:sldMkLst>
      </pc:sldChg>
      <pc:sldChg chg="addSp modSp modAnim">
        <pc:chgData name="Doevendans, Tjeerd (SCM FE GF PP)" userId="d28c39a9-8d57-4727-941b-53d4efee6083" providerId="ADAL" clId="{2CE01A20-A606-42BD-91FE-1ADE0AAAEF2D}" dt="2025-03-17T10:56:13.876" v="40"/>
        <pc:sldMkLst>
          <pc:docMk/>
          <pc:sldMk cId="3842038603" sldId="2147483646"/>
        </pc:sldMkLst>
      </pc:sldChg>
    </pc:docChg>
  </pc:docChgLst>
  <pc:docChgLst>
    <pc:chgData name="Viktoria Nuriakhmetova" userId="4d21b969-c619-4fe3-9178-0318ad5bf2d0" providerId="ADAL" clId="{C8D08CAD-5F3A-EB4B-A3E2-224F1AA61AB2}"/>
    <pc:docChg chg="undo custSel addSld delSld modSld modSection">
      <pc:chgData name="Viktoria Nuriakhmetova" userId="4d21b969-c619-4fe3-9178-0318ad5bf2d0" providerId="ADAL" clId="{C8D08CAD-5F3A-EB4B-A3E2-224F1AA61AB2}" dt="2025-06-17T13:01:58.318" v="349" actId="255"/>
      <pc:docMkLst>
        <pc:docMk/>
      </pc:docMkLst>
      <pc:sldChg chg="addSp delSp modSp add del mod modNotesTx">
        <pc:chgData name="Viktoria Nuriakhmetova" userId="4d21b969-c619-4fe3-9178-0318ad5bf2d0" providerId="ADAL" clId="{C8D08CAD-5F3A-EB4B-A3E2-224F1AA61AB2}" dt="2025-06-17T13:01:58.318" v="349" actId="255"/>
        <pc:sldMkLst>
          <pc:docMk/>
          <pc:sldMk cId="626688586" sldId="259"/>
        </pc:sldMkLst>
        <pc:spChg chg="mod">
          <ac:chgData name="Viktoria Nuriakhmetova" userId="4d21b969-c619-4fe3-9178-0318ad5bf2d0" providerId="ADAL" clId="{C8D08CAD-5F3A-EB4B-A3E2-224F1AA61AB2}" dt="2025-06-17T12:20:43.189" v="14" actId="14100"/>
          <ac:spMkLst>
            <pc:docMk/>
            <pc:sldMk cId="626688586" sldId="259"/>
            <ac:spMk id="2" creationId="{55908148-0DC7-281C-23ED-7D915229B4C5}"/>
          </ac:spMkLst>
        </pc:spChg>
        <pc:spChg chg="add del mod">
          <ac:chgData name="Viktoria Nuriakhmetova" userId="4d21b969-c619-4fe3-9178-0318ad5bf2d0" providerId="ADAL" clId="{C8D08CAD-5F3A-EB4B-A3E2-224F1AA61AB2}" dt="2025-06-17T12:23:15.954" v="31"/>
          <ac:spMkLst>
            <pc:docMk/>
            <pc:sldMk cId="626688586" sldId="259"/>
            <ac:spMk id="7" creationId="{772D50FC-D616-67D8-9F43-560D3A55F4F1}"/>
          </ac:spMkLst>
        </pc:spChg>
        <pc:spChg chg="add mod">
          <ac:chgData name="Viktoria Nuriakhmetova" userId="4d21b969-c619-4fe3-9178-0318ad5bf2d0" providerId="ADAL" clId="{C8D08CAD-5F3A-EB4B-A3E2-224F1AA61AB2}" dt="2025-06-17T12:51:49.021" v="291" actId="1076"/>
          <ac:spMkLst>
            <pc:docMk/>
            <pc:sldMk cId="626688586" sldId="259"/>
            <ac:spMk id="11" creationId="{E3A71077-8C5C-7A59-37C5-88499ADD91D2}"/>
          </ac:spMkLst>
        </pc:spChg>
        <pc:spChg chg="add del">
          <ac:chgData name="Viktoria Nuriakhmetova" userId="4d21b969-c619-4fe3-9178-0318ad5bf2d0" providerId="ADAL" clId="{C8D08CAD-5F3A-EB4B-A3E2-224F1AA61AB2}" dt="2025-06-17T12:27:19.524" v="58" actId="478"/>
          <ac:spMkLst>
            <pc:docMk/>
            <pc:sldMk cId="626688586" sldId="259"/>
            <ac:spMk id="13" creationId="{14415AD7-8DA3-2099-1CE4-2F9586157B53}"/>
          </ac:spMkLst>
        </pc:spChg>
        <pc:spChg chg="add del mod">
          <ac:chgData name="Viktoria Nuriakhmetova" userId="4d21b969-c619-4fe3-9178-0318ad5bf2d0" providerId="ADAL" clId="{C8D08CAD-5F3A-EB4B-A3E2-224F1AA61AB2}" dt="2025-06-17T12:28:00.868" v="64" actId="478"/>
          <ac:spMkLst>
            <pc:docMk/>
            <pc:sldMk cId="626688586" sldId="259"/>
            <ac:spMk id="15" creationId="{B2E1026B-793D-7E64-FDC4-180C24A8AAE1}"/>
          </ac:spMkLst>
        </pc:spChg>
        <pc:spChg chg="add del mod">
          <ac:chgData name="Viktoria Nuriakhmetova" userId="4d21b969-c619-4fe3-9178-0318ad5bf2d0" providerId="ADAL" clId="{C8D08CAD-5F3A-EB4B-A3E2-224F1AA61AB2}" dt="2025-06-17T12:32:26.430" v="116"/>
          <ac:spMkLst>
            <pc:docMk/>
            <pc:sldMk cId="626688586" sldId="259"/>
            <ac:spMk id="16" creationId="{D4A64F1A-8A21-ACDE-C0A0-99BEE45BD123}"/>
          </ac:spMkLst>
        </pc:spChg>
        <pc:spChg chg="add del mod">
          <ac:chgData name="Viktoria Nuriakhmetova" userId="4d21b969-c619-4fe3-9178-0318ad5bf2d0" providerId="ADAL" clId="{C8D08CAD-5F3A-EB4B-A3E2-224F1AA61AB2}" dt="2025-06-17T12:41:01.377" v="233"/>
          <ac:spMkLst>
            <pc:docMk/>
            <pc:sldMk cId="626688586" sldId="259"/>
            <ac:spMk id="18" creationId="{A0938930-8A32-A6E0-AE9D-CB806C99E3F4}"/>
          </ac:spMkLst>
        </pc:spChg>
        <pc:spChg chg="add mod">
          <ac:chgData name="Viktoria Nuriakhmetova" userId="4d21b969-c619-4fe3-9178-0318ad5bf2d0" providerId="ADAL" clId="{C8D08CAD-5F3A-EB4B-A3E2-224F1AA61AB2}" dt="2025-06-17T12:36:00.121" v="173" actId="14100"/>
          <ac:spMkLst>
            <pc:docMk/>
            <pc:sldMk cId="626688586" sldId="259"/>
            <ac:spMk id="20" creationId="{4DC6C5B0-C658-ED5A-6847-523C087A4602}"/>
          </ac:spMkLst>
        </pc:spChg>
        <pc:spChg chg="add del mod">
          <ac:chgData name="Viktoria Nuriakhmetova" userId="4d21b969-c619-4fe3-9178-0318ad5bf2d0" providerId="ADAL" clId="{C8D08CAD-5F3A-EB4B-A3E2-224F1AA61AB2}" dt="2025-06-17T12:44:14.659" v="247" actId="478"/>
          <ac:spMkLst>
            <pc:docMk/>
            <pc:sldMk cId="626688586" sldId="259"/>
            <ac:spMk id="26" creationId="{0C6D7783-5718-7EA5-91E0-7F1E4D63A87E}"/>
          </ac:spMkLst>
        </pc:spChg>
        <pc:spChg chg="add del mod">
          <ac:chgData name="Viktoria Nuriakhmetova" userId="4d21b969-c619-4fe3-9178-0318ad5bf2d0" providerId="ADAL" clId="{C8D08CAD-5F3A-EB4B-A3E2-224F1AA61AB2}" dt="2025-06-17T12:44:15.327" v="249"/>
          <ac:spMkLst>
            <pc:docMk/>
            <pc:sldMk cId="626688586" sldId="259"/>
            <ac:spMk id="27" creationId="{81DAD6C9-FC64-1DEF-C5F9-CC906A636DB8}"/>
          </ac:spMkLst>
        </pc:spChg>
        <pc:spChg chg="add mod">
          <ac:chgData name="Viktoria Nuriakhmetova" userId="4d21b969-c619-4fe3-9178-0318ad5bf2d0" providerId="ADAL" clId="{C8D08CAD-5F3A-EB4B-A3E2-224F1AA61AB2}" dt="2025-06-17T13:01:58.318" v="349" actId="255"/>
          <ac:spMkLst>
            <pc:docMk/>
            <pc:sldMk cId="626688586" sldId="259"/>
            <ac:spMk id="35" creationId="{71B25937-2C01-6BEC-BE30-141BD216E0E7}"/>
          </ac:spMkLst>
        </pc:spChg>
        <pc:picChg chg="add del mod">
          <ac:chgData name="Viktoria Nuriakhmetova" userId="4d21b969-c619-4fe3-9178-0318ad5bf2d0" providerId="ADAL" clId="{C8D08CAD-5F3A-EB4B-A3E2-224F1AA61AB2}" dt="2025-06-17T12:19:07.433" v="11" actId="478"/>
          <ac:picMkLst>
            <pc:docMk/>
            <pc:sldMk cId="626688586" sldId="259"/>
            <ac:picMk id="4" creationId="{3A16DD65-D407-2148-C618-5EA993EA1BAF}"/>
          </ac:picMkLst>
        </pc:picChg>
        <pc:picChg chg="add del mod modCrop">
          <ac:chgData name="Viktoria Nuriakhmetova" userId="4d21b969-c619-4fe3-9178-0318ad5bf2d0" providerId="ADAL" clId="{C8D08CAD-5F3A-EB4B-A3E2-224F1AA61AB2}" dt="2025-06-17T12:31:55.040" v="107" actId="478"/>
          <ac:picMkLst>
            <pc:docMk/>
            <pc:sldMk cId="626688586" sldId="259"/>
            <ac:picMk id="6" creationId="{77A0E7EF-E49B-5429-3AD7-CEB7C23F28D8}"/>
          </ac:picMkLst>
        </pc:picChg>
        <pc:picChg chg="add mod">
          <ac:chgData name="Viktoria Nuriakhmetova" userId="4d21b969-c619-4fe3-9178-0318ad5bf2d0" providerId="ADAL" clId="{C8D08CAD-5F3A-EB4B-A3E2-224F1AA61AB2}" dt="2025-06-17T12:51:51.776" v="292" actId="1076"/>
          <ac:picMkLst>
            <pc:docMk/>
            <pc:sldMk cId="626688586" sldId="259"/>
            <ac:picMk id="9" creationId="{71D1FAE0-A8A1-23E1-3FF4-1553C107E6EA}"/>
          </ac:picMkLst>
        </pc:picChg>
        <pc:picChg chg="add del mod">
          <ac:chgData name="Viktoria Nuriakhmetova" userId="4d21b969-c619-4fe3-9178-0318ad5bf2d0" providerId="ADAL" clId="{C8D08CAD-5F3A-EB4B-A3E2-224F1AA61AB2}" dt="2025-06-17T12:38:38.211" v="185" actId="478"/>
          <ac:picMkLst>
            <pc:docMk/>
            <pc:sldMk cId="626688586" sldId="259"/>
            <ac:picMk id="22" creationId="{58D1CE0F-5733-4C5D-435B-6DDB59A69AD2}"/>
          </ac:picMkLst>
        </pc:picChg>
        <pc:picChg chg="add del mod">
          <ac:chgData name="Viktoria Nuriakhmetova" userId="4d21b969-c619-4fe3-9178-0318ad5bf2d0" providerId="ADAL" clId="{C8D08CAD-5F3A-EB4B-A3E2-224F1AA61AB2}" dt="2025-06-17T12:44:16.935" v="250" actId="478"/>
          <ac:picMkLst>
            <pc:docMk/>
            <pc:sldMk cId="626688586" sldId="259"/>
            <ac:picMk id="24" creationId="{07685B8F-50BA-11B6-3627-313359B17338}"/>
          </ac:picMkLst>
        </pc:picChg>
        <pc:picChg chg="add del mod">
          <ac:chgData name="Viktoria Nuriakhmetova" userId="4d21b969-c619-4fe3-9178-0318ad5bf2d0" providerId="ADAL" clId="{C8D08CAD-5F3A-EB4B-A3E2-224F1AA61AB2}" dt="2025-06-17T12:45:28.001" v="257" actId="478"/>
          <ac:picMkLst>
            <pc:docMk/>
            <pc:sldMk cId="626688586" sldId="259"/>
            <ac:picMk id="29" creationId="{1A5E76B8-AEC0-B720-5837-B422546351FE}"/>
          </ac:picMkLst>
        </pc:picChg>
        <pc:picChg chg="add mod modCrop">
          <ac:chgData name="Viktoria Nuriakhmetova" userId="4d21b969-c619-4fe3-9178-0318ad5bf2d0" providerId="ADAL" clId="{C8D08CAD-5F3A-EB4B-A3E2-224F1AA61AB2}" dt="2025-06-17T12:55:51.388" v="294" actId="732"/>
          <ac:picMkLst>
            <pc:docMk/>
            <pc:sldMk cId="626688586" sldId="259"/>
            <ac:picMk id="31" creationId="{6CF6C209-4011-AE3C-B745-54B9D63D2E8E}"/>
          </ac:picMkLst>
        </pc:picChg>
        <pc:picChg chg="add del mod">
          <ac:chgData name="Viktoria Nuriakhmetova" userId="4d21b969-c619-4fe3-9178-0318ad5bf2d0" providerId="ADAL" clId="{C8D08CAD-5F3A-EB4B-A3E2-224F1AA61AB2}" dt="2025-06-17T12:48:37.636" v="287" actId="478"/>
          <ac:picMkLst>
            <pc:docMk/>
            <pc:sldMk cId="626688586" sldId="259"/>
            <ac:picMk id="33" creationId="{1DE79019-9D94-3D7F-8FEB-63D4B512C001}"/>
          </ac:picMkLst>
        </pc:picChg>
        <pc:picChg chg="add del mod">
          <ac:chgData name="Viktoria Nuriakhmetova" userId="4d21b969-c619-4fe3-9178-0318ad5bf2d0" providerId="ADAL" clId="{C8D08CAD-5F3A-EB4B-A3E2-224F1AA61AB2}" dt="2025-06-17T12:59:44.033" v="337" actId="478"/>
          <ac:picMkLst>
            <pc:docMk/>
            <pc:sldMk cId="626688586" sldId="259"/>
            <ac:picMk id="37" creationId="{772F2F3F-6562-E08E-45AB-FB12BF857188}"/>
          </ac:picMkLst>
        </pc:picChg>
      </pc:sldChg>
      <pc:sldChg chg="add">
        <pc:chgData name="Viktoria Nuriakhmetova" userId="4d21b969-c619-4fe3-9178-0318ad5bf2d0" providerId="ADAL" clId="{C8D08CAD-5F3A-EB4B-A3E2-224F1AA61AB2}" dt="2025-06-17T12:18:17.464" v="4" actId="2890"/>
        <pc:sldMkLst>
          <pc:docMk/>
          <pc:sldMk cId="393226531" sldId="260"/>
        </pc:sldMkLst>
      </pc:sldChg>
      <pc:sldChg chg="new del">
        <pc:chgData name="Viktoria Nuriakhmetova" userId="4d21b969-c619-4fe3-9178-0318ad5bf2d0" providerId="ADAL" clId="{C8D08CAD-5F3A-EB4B-A3E2-224F1AA61AB2}" dt="2025-06-17T12:18:06.585" v="1" actId="680"/>
        <pc:sldMkLst>
          <pc:docMk/>
          <pc:sldMk cId="2229653354" sldId="260"/>
        </pc:sldMkLst>
      </pc:sldChg>
      <pc:sldChg chg="modSp mod">
        <pc:chgData name="Viktoria Nuriakhmetova" userId="4d21b969-c619-4fe3-9178-0318ad5bf2d0" providerId="ADAL" clId="{C8D08CAD-5F3A-EB4B-A3E2-224F1AA61AB2}" dt="2025-06-17T12:20:20.489" v="13" actId="255"/>
        <pc:sldMkLst>
          <pc:docMk/>
          <pc:sldMk cId="0" sldId="277"/>
        </pc:sldMkLst>
        <pc:spChg chg="mod">
          <ac:chgData name="Viktoria Nuriakhmetova" userId="4d21b969-c619-4fe3-9178-0318ad5bf2d0" providerId="ADAL" clId="{C8D08CAD-5F3A-EB4B-A3E2-224F1AA61AB2}" dt="2025-06-17T12:20:20.489" v="13" actId="255"/>
          <ac:spMkLst>
            <pc:docMk/>
            <pc:sldMk cId="0" sldId="277"/>
            <ac:spMk id="3047" creationId="{00000000-0000-0000-0000-000000000000}"/>
          </ac:spMkLst>
        </pc:spChg>
      </pc:sldChg>
    </pc:docChg>
  </pc:docChgLst>
  <pc:docChgLst>
    <pc:chgData name="Doevendans, Tjeerd (SCM FE GF PP)" userId="d28c39a9-8d57-4727-941b-53d4efee6083" providerId="ADAL" clId="{61095410-6E3E-44EC-97B1-8A58909876D3}"/>
    <pc:docChg chg="undo redo custSel addSld delSld modSld sldOrd modSection">
      <pc:chgData name="Doevendans, Tjeerd (SCM FE GF PP)" userId="d28c39a9-8d57-4727-941b-53d4efee6083" providerId="ADAL" clId="{61095410-6E3E-44EC-97B1-8A58909876D3}" dt="2025-03-12T13:56:17.333" v="2683" actId="20577"/>
      <pc:docMkLst>
        <pc:docMk/>
      </pc:docMkLst>
      <pc:sldChg chg="addSp delSp modSp mod">
        <pc:chgData name="Doevendans, Tjeerd (SCM FE GF PP)" userId="d28c39a9-8d57-4727-941b-53d4efee6083" providerId="ADAL" clId="{61095410-6E3E-44EC-97B1-8A58909876D3}" dt="2025-02-28T15:35:33.591" v="57" actId="14100"/>
        <pc:sldMkLst>
          <pc:docMk/>
          <pc:sldMk cId="2011105564" sldId="256"/>
        </pc:sldMkLst>
      </pc:sldChg>
      <pc:sldChg chg="addSp delSp modSp mod ord">
        <pc:chgData name="Doevendans, Tjeerd (SCM FE GF PP)" userId="d28c39a9-8d57-4727-941b-53d4efee6083" providerId="ADAL" clId="{61095410-6E3E-44EC-97B1-8A58909876D3}" dt="2025-02-28T15:57:10.738" v="105" actId="20577"/>
        <pc:sldMkLst>
          <pc:docMk/>
          <pc:sldMk cId="1072157417" sldId="258"/>
        </pc:sldMkLst>
      </pc:sldChg>
      <pc:sldChg chg="mod modShow">
        <pc:chgData name="Doevendans, Tjeerd (SCM FE GF PP)" userId="d28c39a9-8d57-4727-941b-53d4efee6083" providerId="ADAL" clId="{61095410-6E3E-44EC-97B1-8A58909876D3}" dt="2025-02-28T16:06:50.084" v="110" actId="729"/>
        <pc:sldMkLst>
          <pc:docMk/>
          <pc:sldMk cId="1023817728" sldId="261"/>
        </pc:sldMkLst>
      </pc:sldChg>
      <pc:sldChg chg="del">
        <pc:chgData name="Doevendans, Tjeerd (SCM FE GF PP)" userId="d28c39a9-8d57-4727-941b-53d4efee6083" providerId="ADAL" clId="{61095410-6E3E-44EC-97B1-8A58909876D3}" dt="2025-02-28T16:27:20.023" v="828" actId="47"/>
        <pc:sldMkLst>
          <pc:docMk/>
          <pc:sldMk cId="3475083703" sldId="264"/>
        </pc:sldMkLst>
      </pc:sldChg>
      <pc:sldChg chg="addSp delSp modSp del mod">
        <pc:chgData name="Doevendans, Tjeerd (SCM FE GF PP)" userId="d28c39a9-8d57-4727-941b-53d4efee6083" providerId="ADAL" clId="{61095410-6E3E-44EC-97B1-8A58909876D3}" dt="2025-03-12T13:43:47.921" v="2199" actId="47"/>
        <pc:sldMkLst>
          <pc:docMk/>
          <pc:sldMk cId="3885230504" sldId="265"/>
        </pc:sldMkLst>
      </pc:sldChg>
      <pc:sldChg chg="ord">
        <pc:chgData name="Doevendans, Tjeerd (SCM FE GF PP)" userId="d28c39a9-8d57-4727-941b-53d4efee6083" providerId="ADAL" clId="{61095410-6E3E-44EC-97B1-8A58909876D3}" dt="2025-02-28T16:06:42.596" v="107"/>
        <pc:sldMkLst>
          <pc:docMk/>
          <pc:sldMk cId="2004678249" sldId="283"/>
        </pc:sldMkLst>
      </pc:sldChg>
      <pc:sldChg chg="delSp modSp add del mod delAnim modAnim">
        <pc:chgData name="Doevendans, Tjeerd (SCM FE GF PP)" userId="d28c39a9-8d57-4727-941b-53d4efee6083" providerId="ADAL" clId="{61095410-6E3E-44EC-97B1-8A58909876D3}" dt="2025-03-12T13:34:37.768" v="1720" actId="47"/>
        <pc:sldMkLst>
          <pc:docMk/>
          <pc:sldMk cId="1077622701" sldId="295"/>
        </pc:sldMkLst>
      </pc:sldChg>
      <pc:sldChg chg="delSp add del mod">
        <pc:chgData name="Doevendans, Tjeerd (SCM FE GF PP)" userId="d28c39a9-8d57-4727-941b-53d4efee6083" providerId="ADAL" clId="{61095410-6E3E-44EC-97B1-8A58909876D3}" dt="2025-02-28T15:51:24.165" v="79" actId="47"/>
        <pc:sldMkLst>
          <pc:docMk/>
          <pc:sldMk cId="3271785794" sldId="367"/>
        </pc:sldMkLst>
      </pc:sldChg>
      <pc:sldChg chg="addSp delSp modSp add mod">
        <pc:chgData name="Doevendans, Tjeerd (SCM FE GF PP)" userId="d28c39a9-8d57-4727-941b-53d4efee6083" providerId="ADAL" clId="{61095410-6E3E-44EC-97B1-8A58909876D3}" dt="2025-03-12T13:56:17.333" v="2683" actId="20577"/>
        <pc:sldMkLst>
          <pc:docMk/>
          <pc:sldMk cId="55359924" sldId="2147375974"/>
        </pc:sldMkLst>
      </pc:sldChg>
      <pc:sldChg chg="addSp modSp mod ord">
        <pc:chgData name="Doevendans, Tjeerd (SCM FE GF PP)" userId="d28c39a9-8d57-4727-941b-53d4efee6083" providerId="ADAL" clId="{61095410-6E3E-44EC-97B1-8A58909876D3}" dt="2025-03-12T12:48:22.485" v="926" actId="404"/>
        <pc:sldMkLst>
          <pc:docMk/>
          <pc:sldMk cId="2396552100" sldId="2147375995"/>
        </pc:sldMkLst>
      </pc:sldChg>
      <pc:sldChg chg="addSp modSp mod ord modAnim">
        <pc:chgData name="Doevendans, Tjeerd (SCM FE GF PP)" userId="d28c39a9-8d57-4727-941b-53d4efee6083" providerId="ADAL" clId="{61095410-6E3E-44EC-97B1-8A58909876D3}" dt="2025-02-28T16:27:08.650" v="827" actId="20577"/>
        <pc:sldMkLst>
          <pc:docMk/>
          <pc:sldMk cId="1505309651" sldId="2147472538"/>
        </pc:sldMkLst>
      </pc:sldChg>
      <pc:sldChg chg="addSp modSp mod ord">
        <pc:chgData name="Doevendans, Tjeerd (SCM FE GF PP)" userId="d28c39a9-8d57-4727-941b-53d4efee6083" providerId="ADAL" clId="{61095410-6E3E-44EC-97B1-8A58909876D3}" dt="2025-02-28T16:26:32.823" v="787" actId="6549"/>
        <pc:sldMkLst>
          <pc:docMk/>
          <pc:sldMk cId="386759398" sldId="2147472553"/>
        </pc:sldMkLst>
      </pc:sldChg>
      <pc:sldChg chg="del ord">
        <pc:chgData name="Doevendans, Tjeerd (SCM FE GF PP)" userId="d28c39a9-8d57-4727-941b-53d4efee6083" providerId="ADAL" clId="{61095410-6E3E-44EC-97B1-8A58909876D3}" dt="2025-02-28T16:21:03.794" v="630" actId="47"/>
        <pc:sldMkLst>
          <pc:docMk/>
          <pc:sldMk cId="2094385499" sldId="2147472554"/>
        </pc:sldMkLst>
      </pc:sldChg>
      <pc:sldChg chg="delSp add del mod">
        <pc:chgData name="Doevendans, Tjeerd (SCM FE GF PP)" userId="d28c39a9-8d57-4727-941b-53d4efee6083" providerId="ADAL" clId="{61095410-6E3E-44EC-97B1-8A58909876D3}" dt="2025-02-28T15:31:59.870" v="15" actId="47"/>
        <pc:sldMkLst>
          <pc:docMk/>
          <pc:sldMk cId="2594478923" sldId="2147482446"/>
        </pc:sldMkLst>
      </pc:sldChg>
      <pc:sldChg chg="modSp mod">
        <pc:chgData name="Doevendans, Tjeerd (SCM FE GF PP)" userId="d28c39a9-8d57-4727-941b-53d4efee6083" providerId="ADAL" clId="{61095410-6E3E-44EC-97B1-8A58909876D3}" dt="2025-02-28T15:37:56.414" v="62" actId="20577"/>
        <pc:sldMkLst>
          <pc:docMk/>
          <pc:sldMk cId="3842038603" sldId="2147483646"/>
        </pc:sldMkLst>
      </pc:sldChg>
      <pc:sldMasterChg chg="delSldLayout">
        <pc:chgData name="Doevendans, Tjeerd (SCM FE GF PP)" userId="d28c39a9-8d57-4727-941b-53d4efee6083" providerId="ADAL" clId="{61095410-6E3E-44EC-97B1-8A58909876D3}" dt="2025-03-12T13:34:37.768" v="1720" actId="47"/>
        <pc:sldMasterMkLst>
          <pc:docMk/>
          <pc:sldMasterMk cId="1998418007" sldId="2147483694"/>
        </pc:sldMasterMkLst>
        <pc:sldLayoutChg chg="del">
          <pc:chgData name="Doevendans, Tjeerd (SCM FE GF PP)" userId="d28c39a9-8d57-4727-941b-53d4efee6083" providerId="ADAL" clId="{61095410-6E3E-44EC-97B1-8A58909876D3}" dt="2025-03-12T13:34:37.768" v="1720" actId="47"/>
          <pc:sldLayoutMkLst>
            <pc:docMk/>
            <pc:sldMasterMk cId="1998418007" sldId="2147483694"/>
            <pc:sldLayoutMk cId="2272455672" sldId="2147483880"/>
          </pc:sldLayoutMkLst>
        </pc:sldLayoutChg>
      </pc:sldMasterChg>
    </pc:docChg>
  </pc:docChgLst>
  <pc:docChgLst>
    <pc:chgData name="Hannah Billenstein" userId="ecd5363e-ddd6-499b-8676-e90d711fd6fd" providerId="ADAL" clId="{37096F72-09F5-DE4B-82E9-77DC95E034A2}"/>
    <pc:docChg chg="undo custSel addSld delSld modSld sldOrd modSection">
      <pc:chgData name="Hannah Billenstein" userId="ecd5363e-ddd6-499b-8676-e90d711fd6fd" providerId="ADAL" clId="{37096F72-09F5-DE4B-82E9-77DC95E034A2}" dt="2025-06-18T09:59:00.745" v="25" actId="20578"/>
      <pc:docMkLst>
        <pc:docMk/>
      </pc:docMkLst>
      <pc:sldChg chg="ord">
        <pc:chgData name="Hannah Billenstein" userId="ecd5363e-ddd6-499b-8676-e90d711fd6fd" providerId="ADAL" clId="{37096F72-09F5-DE4B-82E9-77DC95E034A2}" dt="2025-06-18T09:59:00.745" v="25" actId="20578"/>
        <pc:sldMkLst>
          <pc:docMk/>
          <pc:sldMk cId="393226531" sldId="260"/>
        </pc:sldMkLst>
      </pc:sldChg>
      <pc:sldChg chg="delSp add mod">
        <pc:chgData name="Hannah Billenstein" userId="ecd5363e-ddd6-499b-8676-e90d711fd6fd" providerId="ADAL" clId="{37096F72-09F5-DE4B-82E9-77DC95E034A2}" dt="2025-06-17T13:34:45.780" v="14" actId="478"/>
        <pc:sldMkLst>
          <pc:docMk/>
          <pc:sldMk cId="4018877881" sldId="267"/>
        </pc:sldMkLst>
        <pc:spChg chg="del">
          <ac:chgData name="Hannah Billenstein" userId="ecd5363e-ddd6-499b-8676-e90d711fd6fd" providerId="ADAL" clId="{37096F72-09F5-DE4B-82E9-77DC95E034A2}" dt="2025-06-17T13:34:45.780" v="14" actId="478"/>
          <ac:spMkLst>
            <pc:docMk/>
            <pc:sldMk cId="4018877881" sldId="267"/>
            <ac:spMk id="7" creationId="{FA654B29-F85F-6194-7657-F6E2B801F026}"/>
          </ac:spMkLst>
        </pc:spChg>
      </pc:sldChg>
      <pc:sldChg chg="add mod ord modShow">
        <pc:chgData name="Hannah Billenstein" userId="ecd5363e-ddd6-499b-8676-e90d711fd6fd" providerId="ADAL" clId="{37096F72-09F5-DE4B-82E9-77DC95E034A2}" dt="2025-06-18T09:58:56.781" v="24" actId="20578"/>
        <pc:sldMkLst>
          <pc:docMk/>
          <pc:sldMk cId="3767758775" sldId="268"/>
        </pc:sldMkLst>
      </pc:sldChg>
      <pc:sldChg chg="modSp add del mod">
        <pc:chgData name="Hannah Billenstein" userId="ecd5363e-ddd6-499b-8676-e90d711fd6fd" providerId="ADAL" clId="{37096F72-09F5-DE4B-82E9-77DC95E034A2}" dt="2025-06-17T13:34:13.640" v="7"/>
        <pc:sldMkLst>
          <pc:docMk/>
          <pc:sldMk cId="2544355793" sldId="269"/>
        </pc:sldMkLst>
        <pc:spChg chg="mod">
          <ac:chgData name="Hannah Billenstein" userId="ecd5363e-ddd6-499b-8676-e90d711fd6fd" providerId="ADAL" clId="{37096F72-09F5-DE4B-82E9-77DC95E034A2}" dt="2025-06-17T13:34:13.640" v="7"/>
          <ac:spMkLst>
            <pc:docMk/>
            <pc:sldMk cId="2544355793" sldId="269"/>
            <ac:spMk id="2" creationId="{DB8B07AD-DFB9-F841-63D5-7539F1A258A9}"/>
          </ac:spMkLst>
        </pc:spChg>
      </pc:sldChg>
      <pc:sldChg chg="add mod ord modShow">
        <pc:chgData name="Hannah Billenstein" userId="ecd5363e-ddd6-499b-8676-e90d711fd6fd" providerId="ADAL" clId="{37096F72-09F5-DE4B-82E9-77DC95E034A2}" dt="2025-06-18T09:58:56.781" v="24" actId="20578"/>
        <pc:sldMkLst>
          <pc:docMk/>
          <pc:sldMk cId="2832914385" sldId="269"/>
        </pc:sldMkLst>
      </pc:sldChg>
      <pc:sldChg chg="modSp add del mod">
        <pc:chgData name="Hannah Billenstein" userId="ecd5363e-ddd6-499b-8676-e90d711fd6fd" providerId="ADAL" clId="{37096F72-09F5-DE4B-82E9-77DC95E034A2}" dt="2025-06-17T13:34:18.395" v="11"/>
        <pc:sldMkLst>
          <pc:docMk/>
          <pc:sldMk cId="3133291863" sldId="269"/>
        </pc:sldMkLst>
        <pc:spChg chg="mod">
          <ac:chgData name="Hannah Billenstein" userId="ecd5363e-ddd6-499b-8676-e90d711fd6fd" providerId="ADAL" clId="{37096F72-09F5-DE4B-82E9-77DC95E034A2}" dt="2025-06-17T13:34:18.395" v="11"/>
          <ac:spMkLst>
            <pc:docMk/>
            <pc:sldMk cId="3133291863" sldId="269"/>
            <ac:spMk id="2" creationId="{B9ECF912-404C-1CE4-3946-47E0A5846ABA}"/>
          </ac:spMkLst>
        </pc:spChg>
      </pc:sldChg>
      <pc:sldChg chg="modSp mod ord modShow">
        <pc:chgData name="Hannah Billenstein" userId="ecd5363e-ddd6-499b-8676-e90d711fd6fd" providerId="ADAL" clId="{37096F72-09F5-DE4B-82E9-77DC95E034A2}" dt="2025-06-18T09:58:56.781" v="24" actId="20578"/>
        <pc:sldMkLst>
          <pc:docMk/>
          <pc:sldMk cId="3640455307" sldId="2147376457"/>
        </pc:sldMkLst>
        <pc:spChg chg="mod">
          <ac:chgData name="Hannah Billenstein" userId="ecd5363e-ddd6-499b-8676-e90d711fd6fd" providerId="ADAL" clId="{37096F72-09F5-DE4B-82E9-77DC95E034A2}" dt="2025-06-17T13:40:08.559" v="18" actId="1076"/>
          <ac:spMkLst>
            <pc:docMk/>
            <pc:sldMk cId="3640455307" sldId="2147376457"/>
            <ac:spMk id="7" creationId="{F09795C9-874F-CE50-BD9D-8CAC5A5D6B0D}"/>
          </ac:spMkLst>
        </pc:spChg>
      </pc:sldChg>
    </pc:docChg>
  </pc:docChgLst>
  <pc:docChgLst>
    <pc:chgData name="Thomas Janvier" userId="33deb15f-1470-45e4-9cf7-c3830223dcbb" providerId="ADAL" clId="{35607C7C-BAE4-4949-9DA2-A1854F2C86F1}"/>
    <pc:docChg chg="custSel addSld delSld modSld modSection">
      <pc:chgData name="Thomas Janvier" userId="33deb15f-1470-45e4-9cf7-c3830223dcbb" providerId="ADAL" clId="{35607C7C-BAE4-4949-9DA2-A1854F2C86F1}" dt="2025-03-18T10:34:11.930" v="935" actId="2696"/>
      <pc:docMkLst>
        <pc:docMk/>
      </pc:docMkLst>
      <pc:sldChg chg="modNotesTx">
        <pc:chgData name="Thomas Janvier" userId="33deb15f-1470-45e4-9cf7-c3830223dcbb" providerId="ADAL" clId="{35607C7C-BAE4-4949-9DA2-A1854F2C86F1}" dt="2025-03-18T10:09:17.662" v="31" actId="20577"/>
        <pc:sldMkLst>
          <pc:docMk/>
          <pc:sldMk cId="1072157417" sldId="258"/>
        </pc:sldMkLst>
      </pc:sldChg>
      <pc:sldChg chg="modSp del mod">
        <pc:chgData name="Thomas Janvier" userId="33deb15f-1470-45e4-9cf7-c3830223dcbb" providerId="ADAL" clId="{35607C7C-BAE4-4949-9DA2-A1854F2C86F1}" dt="2025-03-18T10:34:11.930" v="935" actId="2696"/>
        <pc:sldMkLst>
          <pc:docMk/>
          <pc:sldMk cId="950738896" sldId="260"/>
        </pc:sldMkLst>
      </pc:sldChg>
      <pc:sldChg chg="modNotesTx">
        <pc:chgData name="Thomas Janvier" userId="33deb15f-1470-45e4-9cf7-c3830223dcbb" providerId="ADAL" clId="{35607C7C-BAE4-4949-9DA2-A1854F2C86F1}" dt="2025-03-18T10:24:58.787" v="91" actId="20577"/>
        <pc:sldMkLst>
          <pc:docMk/>
          <pc:sldMk cId="2227279540" sldId="264"/>
        </pc:sldMkLst>
      </pc:sldChg>
      <pc:sldChg chg="modNotesTx">
        <pc:chgData name="Thomas Janvier" userId="33deb15f-1470-45e4-9cf7-c3830223dcbb" providerId="ADAL" clId="{35607C7C-BAE4-4949-9DA2-A1854F2C86F1}" dt="2025-03-18T10:30:43.527" v="934" actId="20577"/>
        <pc:sldMkLst>
          <pc:docMk/>
          <pc:sldMk cId="89217895" sldId="2147376456"/>
        </pc:sldMkLst>
      </pc:sldChg>
      <pc:sldChg chg="del mod modShow">
        <pc:chgData name="Thomas Janvier" userId="33deb15f-1470-45e4-9cf7-c3830223dcbb" providerId="ADAL" clId="{35607C7C-BAE4-4949-9DA2-A1854F2C86F1}" dt="2025-03-18T10:24:32.491" v="33" actId="2696"/>
        <pc:sldMkLst>
          <pc:docMk/>
          <pc:sldMk cId="208113348" sldId="2147472501"/>
        </pc:sldMkLst>
      </pc:sldChg>
      <pc:sldChg chg="modSp add mod">
        <pc:chgData name="Thomas Janvier" userId="33deb15f-1470-45e4-9cf7-c3830223dcbb" providerId="ADAL" clId="{35607C7C-BAE4-4949-9DA2-A1854F2C86F1}" dt="2025-03-18T10:24:52.154" v="36" actId="27636"/>
        <pc:sldMkLst>
          <pc:docMk/>
          <pc:sldMk cId="527566783" sldId="2147472501"/>
        </pc:sldMkLst>
      </pc:sldChg>
      <pc:sldChg chg="modNotesTx">
        <pc:chgData name="Thomas Janvier" userId="33deb15f-1470-45e4-9cf7-c3830223dcbb" providerId="ADAL" clId="{35607C7C-BAE4-4949-9DA2-A1854F2C86F1}" dt="2025-03-18T10:27:42.176" v="623" actId="20577"/>
        <pc:sldMkLst>
          <pc:docMk/>
          <pc:sldMk cId="3842038603" sldId="2147483646"/>
        </pc:sldMkLst>
      </pc:sldChg>
      <pc:sldChg chg="del">
        <pc:chgData name="Thomas Janvier" userId="33deb15f-1470-45e4-9cf7-c3830223dcbb" providerId="ADAL" clId="{35607C7C-BAE4-4949-9DA2-A1854F2C86F1}" dt="2025-03-18T10:24:32.491" v="33" actId="2696"/>
        <pc:sldMkLst>
          <pc:docMk/>
          <pc:sldMk cId="11611804" sldId="2147483647"/>
        </pc:sldMkLst>
      </pc:sldChg>
      <pc:sldChg chg="add">
        <pc:chgData name="Thomas Janvier" userId="33deb15f-1470-45e4-9cf7-c3830223dcbb" providerId="ADAL" clId="{35607C7C-BAE4-4949-9DA2-A1854F2C86F1}" dt="2025-03-18T10:24:36.809" v="34"/>
        <pc:sldMkLst>
          <pc:docMk/>
          <pc:sldMk cId="2584932980" sldId="2147483647"/>
        </pc:sldMkLst>
      </pc:sldChg>
    </pc:docChg>
  </pc:docChgLst>
  <pc:docChgLst>
    <pc:chgData name="Tom Haas" userId="b0b42e69-edf2-41b8-b607-f5f4e831e49c" providerId="ADAL" clId="{5C91F56F-DE45-AE43-BCCA-EC9A8E6D85ED}"/>
    <pc:docChg chg="custSel modSld">
      <pc:chgData name="Tom Haas" userId="b0b42e69-edf2-41b8-b607-f5f4e831e49c" providerId="ADAL" clId="{5C91F56F-DE45-AE43-BCCA-EC9A8E6D85ED}" dt="2025-06-17T14:07:45.309" v="57"/>
      <pc:docMkLst>
        <pc:docMk/>
      </pc:docMkLst>
      <pc:sldChg chg="addSp delSp modSp mod">
        <pc:chgData name="Tom Haas" userId="b0b42e69-edf2-41b8-b607-f5f4e831e49c" providerId="ADAL" clId="{5C91F56F-DE45-AE43-BCCA-EC9A8E6D85ED}" dt="2025-06-17T14:04:26.729" v="27" actId="1037"/>
        <pc:sldMkLst>
          <pc:docMk/>
          <pc:sldMk cId="4018877881" sldId="267"/>
        </pc:sldMkLst>
        <pc:spChg chg="add mod">
          <ac:chgData name="Tom Haas" userId="b0b42e69-edf2-41b8-b607-f5f4e831e49c" providerId="ADAL" clId="{5C91F56F-DE45-AE43-BCCA-EC9A8E6D85ED}" dt="2025-06-17T14:04:15.361" v="23" actId="2085"/>
          <ac:spMkLst>
            <pc:docMk/>
            <pc:sldMk cId="4018877881" sldId="267"/>
            <ac:spMk id="9" creationId="{6418B9F0-5C8E-EB6F-55FF-9FA8DF9B4BFA}"/>
          </ac:spMkLst>
        </pc:spChg>
        <pc:picChg chg="add del mod">
          <ac:chgData name="Tom Haas" userId="b0b42e69-edf2-41b8-b607-f5f4e831e49c" providerId="ADAL" clId="{5C91F56F-DE45-AE43-BCCA-EC9A8E6D85ED}" dt="2025-06-17T14:03:44.520" v="13" actId="21"/>
          <ac:picMkLst>
            <pc:docMk/>
            <pc:sldMk cId="4018877881" sldId="267"/>
            <ac:picMk id="8" creationId="{4769A0EA-2664-3FC6-3043-AF423C740833}"/>
          </ac:picMkLst>
        </pc:picChg>
        <pc:picChg chg="add mod">
          <ac:chgData name="Tom Haas" userId="b0b42e69-edf2-41b8-b607-f5f4e831e49c" providerId="ADAL" clId="{5C91F56F-DE45-AE43-BCCA-EC9A8E6D85ED}" dt="2025-06-17T14:04:26.729" v="27" actId="1037"/>
          <ac:picMkLst>
            <pc:docMk/>
            <pc:sldMk cId="4018877881" sldId="267"/>
            <ac:picMk id="10" creationId="{FAD9D3C5-13E9-486E-13D2-98581CE3461E}"/>
          </ac:picMkLst>
        </pc:picChg>
      </pc:sldChg>
      <pc:sldChg chg="addSp delSp modSp mod">
        <pc:chgData name="Tom Haas" userId="b0b42e69-edf2-41b8-b607-f5f4e831e49c" providerId="ADAL" clId="{5C91F56F-DE45-AE43-BCCA-EC9A8E6D85ED}" dt="2025-06-17T14:04:57.649" v="38"/>
        <pc:sldMkLst>
          <pc:docMk/>
          <pc:sldMk cId="2654212918" sldId="2147472497"/>
        </pc:sldMkLst>
        <pc:picChg chg="add del mod">
          <ac:chgData name="Tom Haas" userId="b0b42e69-edf2-41b8-b607-f5f4e831e49c" providerId="ADAL" clId="{5C91F56F-DE45-AE43-BCCA-EC9A8E6D85ED}" dt="2025-06-17T14:04:56.690" v="36" actId="21"/>
          <ac:picMkLst>
            <pc:docMk/>
            <pc:sldMk cId="2654212918" sldId="2147472497"/>
            <ac:picMk id="6" creationId="{385817E3-5BF6-F9DF-2B46-FD05690BC0EE}"/>
          </ac:picMkLst>
        </pc:picChg>
        <pc:picChg chg="del">
          <ac:chgData name="Tom Haas" userId="b0b42e69-edf2-41b8-b607-f5f4e831e49c" providerId="ADAL" clId="{5C91F56F-DE45-AE43-BCCA-EC9A8E6D85ED}" dt="2025-06-17T14:04:57.356" v="37" actId="478"/>
          <ac:picMkLst>
            <pc:docMk/>
            <pc:sldMk cId="2654212918" sldId="2147472497"/>
            <ac:picMk id="7" creationId="{BF0A4CCD-40C0-5EAF-2291-2B2AB54C035A}"/>
          </ac:picMkLst>
        </pc:picChg>
        <pc:picChg chg="add mod">
          <ac:chgData name="Tom Haas" userId="b0b42e69-edf2-41b8-b607-f5f4e831e49c" providerId="ADAL" clId="{5C91F56F-DE45-AE43-BCCA-EC9A8E6D85ED}" dt="2025-06-17T14:04:57.649" v="38"/>
          <ac:picMkLst>
            <pc:docMk/>
            <pc:sldMk cId="2654212918" sldId="2147472497"/>
            <ac:picMk id="10" creationId="{1F731F8C-F25A-A885-7A69-65624761494E}"/>
          </ac:picMkLst>
        </pc:picChg>
      </pc:sldChg>
      <pc:sldChg chg="addSp delSp modSp mod modAnim">
        <pc:chgData name="Tom Haas" userId="b0b42e69-edf2-41b8-b607-f5f4e831e49c" providerId="ADAL" clId="{5C91F56F-DE45-AE43-BCCA-EC9A8E6D85ED}" dt="2025-06-17T14:07:45.309" v="57"/>
        <pc:sldMkLst>
          <pc:docMk/>
          <pc:sldMk cId="3458149745" sldId="2147472551"/>
        </pc:sldMkLst>
        <pc:picChg chg="add mod">
          <ac:chgData name="Tom Haas" userId="b0b42e69-edf2-41b8-b607-f5f4e831e49c" providerId="ADAL" clId="{5C91F56F-DE45-AE43-BCCA-EC9A8E6D85ED}" dt="2025-06-17T14:05:02.435" v="39"/>
          <ac:picMkLst>
            <pc:docMk/>
            <pc:sldMk cId="3458149745" sldId="2147472551"/>
            <ac:picMk id="3" creationId="{F337F681-0A4F-BCFE-A503-699412148D56}"/>
          </ac:picMkLst>
        </pc:picChg>
        <pc:picChg chg="del">
          <ac:chgData name="Tom Haas" userId="b0b42e69-edf2-41b8-b607-f5f4e831e49c" providerId="ADAL" clId="{5C91F56F-DE45-AE43-BCCA-EC9A8E6D85ED}" dt="2025-06-17T14:05:04.281" v="40" actId="478"/>
          <ac:picMkLst>
            <pc:docMk/>
            <pc:sldMk cId="3458149745" sldId="2147472551"/>
            <ac:picMk id="7" creationId="{28D0EC81-7BBC-FA5D-40E9-2504E979C880}"/>
          </ac:picMkLst>
        </pc:picChg>
        <pc:picChg chg="del">
          <ac:chgData name="Tom Haas" userId="b0b42e69-edf2-41b8-b607-f5f4e831e49c" providerId="ADAL" clId="{5C91F56F-DE45-AE43-BCCA-EC9A8E6D85ED}" dt="2025-06-17T14:05:23.195" v="41" actId="478"/>
          <ac:picMkLst>
            <pc:docMk/>
            <pc:sldMk cId="3458149745" sldId="2147472551"/>
            <ac:picMk id="9" creationId="{8C41A139-5714-8B27-162E-67E252E3ED7E}"/>
          </ac:picMkLst>
        </pc:picChg>
        <pc:picChg chg="add mod">
          <ac:chgData name="Tom Haas" userId="b0b42e69-edf2-41b8-b607-f5f4e831e49c" providerId="ADAL" clId="{5C91F56F-DE45-AE43-BCCA-EC9A8E6D85ED}" dt="2025-06-17T14:07:13.960" v="55" actId="14100"/>
          <ac:picMkLst>
            <pc:docMk/>
            <pc:sldMk cId="3458149745" sldId="2147472551"/>
            <ac:picMk id="10" creationId="{8B14C53B-25F4-2D4B-469E-022835C73A1C}"/>
          </ac:picMkLst>
        </pc:picChg>
      </pc:sldChg>
    </pc:docChg>
  </pc:docChgLst>
  <pc:docChgLst>
    <pc:chgData name="Thomas Janvier" userId="33deb15f-1470-45e4-9cf7-c3830223dcbb" providerId="ADAL" clId="{929DF602-FBC5-BF4B-AA66-0AB8836FADE8}"/>
    <pc:docChg chg="undo custSel modSld">
      <pc:chgData name="Thomas Janvier" userId="33deb15f-1470-45e4-9cf7-c3830223dcbb" providerId="ADAL" clId="{929DF602-FBC5-BF4B-AA66-0AB8836FADE8}" dt="2025-06-04T14:39:47.141" v="125" actId="20577"/>
      <pc:docMkLst>
        <pc:docMk/>
      </pc:docMkLst>
      <pc:sldChg chg="addSp delSp modSp mod">
        <pc:chgData name="Thomas Janvier" userId="33deb15f-1470-45e4-9cf7-c3830223dcbb" providerId="ADAL" clId="{929DF602-FBC5-BF4B-AA66-0AB8836FADE8}" dt="2025-06-02T12:22:24.141" v="16" actId="20577"/>
        <pc:sldMkLst>
          <pc:docMk/>
          <pc:sldMk cId="1565301832" sldId="257"/>
        </pc:sldMkLst>
        <pc:spChg chg="add del mod">
          <ac:chgData name="Thomas Janvier" userId="33deb15f-1470-45e4-9cf7-c3830223dcbb" providerId="ADAL" clId="{929DF602-FBC5-BF4B-AA66-0AB8836FADE8}" dt="2025-06-02T12:22:24.141" v="16" actId="20577"/>
          <ac:spMkLst>
            <pc:docMk/>
            <pc:sldMk cId="1565301832" sldId="257"/>
            <ac:spMk id="3" creationId="{7DD5266C-52D2-4D26-3B12-37D6114BFB67}"/>
          </ac:spMkLst>
        </pc:spChg>
      </pc:sldChg>
      <pc:sldChg chg="addSp modSp mod">
        <pc:chgData name="Thomas Janvier" userId="33deb15f-1470-45e4-9cf7-c3830223dcbb" providerId="ADAL" clId="{929DF602-FBC5-BF4B-AA66-0AB8836FADE8}" dt="2025-06-04T14:39:47.141" v="125" actId="20577"/>
        <pc:sldMkLst>
          <pc:docMk/>
          <pc:sldMk cId="4065483237" sldId="263"/>
        </pc:sldMkLst>
      </pc:sldChg>
      <pc:sldChg chg="addSp modSp mod">
        <pc:chgData name="Thomas Janvier" userId="33deb15f-1470-45e4-9cf7-c3830223dcbb" providerId="ADAL" clId="{929DF602-FBC5-BF4B-AA66-0AB8836FADE8}" dt="2025-06-04T14:30:12.190" v="82" actId="20577"/>
        <pc:sldMkLst>
          <pc:docMk/>
          <pc:sldMk cId="2227279540" sldId="264"/>
        </pc:sldMkLst>
      </pc:sldChg>
      <pc:sldChg chg="modSp mod">
        <pc:chgData name="Thomas Janvier" userId="33deb15f-1470-45e4-9cf7-c3830223dcbb" providerId="ADAL" clId="{929DF602-FBC5-BF4B-AA66-0AB8836FADE8}" dt="2025-06-02T12:22:54.978" v="17" actId="20577"/>
        <pc:sldMkLst>
          <pc:docMk/>
          <pc:sldMk cId="0" sldId="277"/>
        </pc:sldMkLst>
        <pc:spChg chg="mod">
          <ac:chgData name="Thomas Janvier" userId="33deb15f-1470-45e4-9cf7-c3830223dcbb" providerId="ADAL" clId="{929DF602-FBC5-BF4B-AA66-0AB8836FADE8}" dt="2025-06-02T12:22:54.978" v="17" actId="20577"/>
          <ac:spMkLst>
            <pc:docMk/>
            <pc:sldMk cId="0" sldId="277"/>
            <ac:spMk id="3046" creationId="{00000000-0000-0000-0000-000000000000}"/>
          </ac:spMkLst>
        </pc:spChg>
      </pc:sldChg>
      <pc:sldChg chg="addSp modSp mod">
        <pc:chgData name="Thomas Janvier" userId="33deb15f-1470-45e4-9cf7-c3830223dcbb" providerId="ADAL" clId="{929DF602-FBC5-BF4B-AA66-0AB8836FADE8}" dt="2025-06-04T14:30:01.345" v="64" actId="20577"/>
        <pc:sldMkLst>
          <pc:docMk/>
          <pc:sldMk cId="2004678249" sldId="283"/>
        </pc:sldMkLst>
      </pc:sldChg>
      <pc:sldChg chg="addSp modSp mod">
        <pc:chgData name="Thomas Janvier" userId="33deb15f-1470-45e4-9cf7-c3830223dcbb" providerId="ADAL" clId="{929DF602-FBC5-BF4B-AA66-0AB8836FADE8}" dt="2025-06-04T14:28:25.091" v="33" actId="20577"/>
        <pc:sldMkLst>
          <pc:docMk/>
          <pc:sldMk cId="3640455307" sldId="2147376457"/>
        </pc:sldMkLst>
        <pc:spChg chg="add mod">
          <ac:chgData name="Thomas Janvier" userId="33deb15f-1470-45e4-9cf7-c3830223dcbb" providerId="ADAL" clId="{929DF602-FBC5-BF4B-AA66-0AB8836FADE8}" dt="2025-06-04T14:28:25.091" v="33" actId="20577"/>
          <ac:spMkLst>
            <pc:docMk/>
            <pc:sldMk cId="3640455307" sldId="2147376457"/>
            <ac:spMk id="7" creationId="{F09795C9-874F-CE50-BD9D-8CAC5A5D6B0D}"/>
          </ac:spMkLst>
        </pc:spChg>
      </pc:sldChg>
      <pc:sldChg chg="addSp modSp mod">
        <pc:chgData name="Thomas Janvier" userId="33deb15f-1470-45e4-9cf7-c3830223dcbb" providerId="ADAL" clId="{929DF602-FBC5-BF4B-AA66-0AB8836FADE8}" dt="2025-06-04T14:28:40.802" v="52" actId="20577"/>
        <pc:sldMkLst>
          <pc:docMk/>
          <pc:sldMk cId="2654212918" sldId="2147472497"/>
        </pc:sldMkLst>
      </pc:sldChg>
    </pc:docChg>
  </pc:docChgLst>
  <pc:docChgLst>
    <pc:chgData name="Doevendans, Tjeerd (SCM FE GF PP)" userId="d28c39a9-8d57-4727-941b-53d4efee6083" providerId="ADAL" clId="{85CA1EBA-7008-4FCF-8DC6-BC180854C441}"/>
    <pc:docChg chg="undo redo custSel modSld modMainMaster">
      <pc:chgData name="Doevendans, Tjeerd (SCM FE GF PP)" userId="d28c39a9-8d57-4727-941b-53d4efee6083" providerId="ADAL" clId="{85CA1EBA-7008-4FCF-8DC6-BC180854C441}" dt="2025-06-05T09:54:39.321" v="1356" actId="20577"/>
      <pc:docMkLst>
        <pc:docMk/>
      </pc:docMkLst>
      <pc:sldChg chg="modSp mod">
        <pc:chgData name="Doevendans, Tjeerd (SCM FE GF PP)" userId="d28c39a9-8d57-4727-941b-53d4efee6083" providerId="ADAL" clId="{85CA1EBA-7008-4FCF-8DC6-BC180854C441}" dt="2025-06-05T09:49:23.016" v="1166" actId="20577"/>
        <pc:sldMkLst>
          <pc:docMk/>
          <pc:sldMk cId="1072157417" sldId="258"/>
        </pc:sldMkLst>
        <pc:spChg chg="mod">
          <ac:chgData name="Doevendans, Tjeerd (SCM FE GF PP)" userId="d28c39a9-8d57-4727-941b-53d4efee6083" providerId="ADAL" clId="{85CA1EBA-7008-4FCF-8DC6-BC180854C441}" dt="2025-06-05T09:49:23.016" v="1166" actId="20577"/>
          <ac:spMkLst>
            <pc:docMk/>
            <pc:sldMk cId="1072157417" sldId="258"/>
            <ac:spMk id="2" creationId="{ADFF0DCC-C85D-BBFC-F151-BDB29A979035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5" creationId="{56DE0656-4101-423C-ACC0-BA9814E243D7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18" creationId="{414D18FE-21FE-41C8-A047-1BF9740CD601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19" creationId="{359EFB17-D5EF-46E6-8F07-119624243CB2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24" creationId="{4EFA2CC8-8D73-4149-95D2-A9B9098A5870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25" creationId="{1B861FE9-0598-4301-9242-546175314871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30" creationId="{F5241D99-AC3A-4624-8E5F-816DDDDBE9DA}"/>
          </ac:spMkLst>
        </pc:spChg>
        <pc:spChg chg="mod">
          <ac:chgData name="Doevendans, Tjeerd (SCM FE GF PP)" userId="d28c39a9-8d57-4727-941b-53d4efee6083" providerId="ADAL" clId="{85CA1EBA-7008-4FCF-8DC6-BC180854C441}" dt="2025-06-05T09:39:24.610" v="1056" actId="20577"/>
          <ac:spMkLst>
            <pc:docMk/>
            <pc:sldMk cId="1072157417" sldId="258"/>
            <ac:spMk id="53" creationId="{8F03BC13-975F-4387-93A3-21CF3B468F15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54" creationId="{B2E3C1A2-C8C4-455D-A543-D9CCC19DE97F}"/>
          </ac:spMkLst>
        </pc:spChg>
        <pc:spChg chg="mod">
          <ac:chgData name="Doevendans, Tjeerd (SCM FE GF PP)" userId="d28c39a9-8d57-4727-941b-53d4efee6083" providerId="ADAL" clId="{85CA1EBA-7008-4FCF-8DC6-BC180854C441}" dt="2025-06-05T09:39:02.561" v="1041" actId="2711"/>
          <ac:spMkLst>
            <pc:docMk/>
            <pc:sldMk cId="1072157417" sldId="258"/>
            <ac:spMk id="55" creationId="{59EBEA1B-6127-4688-A48D-00A098869542}"/>
          </ac:spMkLst>
        </pc:spChg>
      </pc:sldChg>
      <pc:sldChg chg="delSp modSp mod">
        <pc:chgData name="Doevendans, Tjeerd (SCM FE GF PP)" userId="d28c39a9-8d57-4727-941b-53d4efee6083" providerId="ADAL" clId="{85CA1EBA-7008-4FCF-8DC6-BC180854C441}" dt="2025-06-05T09:52:01.686" v="1263" actId="20577"/>
        <pc:sldMkLst>
          <pc:docMk/>
          <pc:sldMk cId="2004678249" sldId="283"/>
        </pc:sldMkLst>
        <pc:spChg chg="mod">
          <ac:chgData name="Doevendans, Tjeerd (SCM FE GF PP)" userId="d28c39a9-8d57-4727-941b-53d4efee6083" providerId="ADAL" clId="{85CA1EBA-7008-4FCF-8DC6-BC180854C441}" dt="2025-06-05T09:52:01.686" v="1263" actId="20577"/>
          <ac:spMkLst>
            <pc:docMk/>
            <pc:sldMk cId="2004678249" sldId="283"/>
            <ac:spMk id="2" creationId="{AAB518F7-AA45-4078-852B-FAC22A61F53A}"/>
          </ac:spMkLst>
        </pc:spChg>
        <pc:spChg chg="mod">
          <ac:chgData name="Doevendans, Tjeerd (SCM FE GF PP)" userId="d28c39a9-8d57-4727-941b-53d4efee6083" providerId="ADAL" clId="{85CA1EBA-7008-4FCF-8DC6-BC180854C441}" dt="2025-06-05T09:38:35.901" v="1039" actId="2711"/>
          <ac:spMkLst>
            <pc:docMk/>
            <pc:sldMk cId="2004678249" sldId="283"/>
            <ac:spMk id="4" creationId="{92929B29-4AD5-4921-72DE-2EB64711C46D}"/>
          </ac:spMkLst>
        </pc:spChg>
        <pc:spChg chg="mod">
          <ac:chgData name="Doevendans, Tjeerd (SCM FE GF PP)" userId="d28c39a9-8d57-4727-941b-53d4efee6083" providerId="ADAL" clId="{85CA1EBA-7008-4FCF-8DC6-BC180854C441}" dt="2025-06-05T09:44:39.538" v="1112" actId="20577"/>
          <ac:spMkLst>
            <pc:docMk/>
            <pc:sldMk cId="2004678249" sldId="283"/>
            <ac:spMk id="9" creationId="{8066270A-725A-4F8E-B336-7E9932A2423A}"/>
          </ac:spMkLst>
        </pc:spChg>
        <pc:spChg chg="mod">
          <ac:chgData name="Doevendans, Tjeerd (SCM FE GF PP)" userId="d28c39a9-8d57-4727-941b-53d4efee6083" providerId="ADAL" clId="{85CA1EBA-7008-4FCF-8DC6-BC180854C441}" dt="2025-06-05T09:38:35.901" v="1039" actId="2711"/>
          <ac:spMkLst>
            <pc:docMk/>
            <pc:sldMk cId="2004678249" sldId="283"/>
            <ac:spMk id="10" creationId="{B1B83B75-42BE-4485-A5B3-3DD3D3503B6C}"/>
          </ac:spMkLst>
        </pc:spChg>
        <pc:spChg chg="mod">
          <ac:chgData name="Doevendans, Tjeerd (SCM FE GF PP)" userId="d28c39a9-8d57-4727-941b-53d4efee6083" providerId="ADAL" clId="{85CA1EBA-7008-4FCF-8DC6-BC180854C441}" dt="2025-06-05T09:38:35.901" v="1039" actId="2711"/>
          <ac:spMkLst>
            <pc:docMk/>
            <pc:sldMk cId="2004678249" sldId="283"/>
            <ac:spMk id="18" creationId="{EC2E9400-672A-463D-B850-64A539AD635F}"/>
          </ac:spMkLst>
        </pc:spChg>
        <pc:spChg chg="mod">
          <ac:chgData name="Doevendans, Tjeerd (SCM FE GF PP)" userId="d28c39a9-8d57-4727-941b-53d4efee6083" providerId="ADAL" clId="{85CA1EBA-7008-4FCF-8DC6-BC180854C441}" dt="2025-06-05T09:43:51.324" v="1086" actId="20577"/>
          <ac:spMkLst>
            <pc:docMk/>
            <pc:sldMk cId="2004678249" sldId="283"/>
            <ac:spMk id="19" creationId="{184EC431-FC89-4BDD-82D9-E4E711AA448A}"/>
          </ac:spMkLst>
        </pc:spChg>
        <pc:grpChg chg="mod">
          <ac:chgData name="Doevendans, Tjeerd (SCM FE GF PP)" userId="d28c39a9-8d57-4727-941b-53d4efee6083" providerId="ADAL" clId="{85CA1EBA-7008-4FCF-8DC6-BC180854C441}" dt="2025-06-05T09:38:35.901" v="1039" actId="2711"/>
          <ac:grpSpMkLst>
            <pc:docMk/>
            <pc:sldMk cId="2004678249" sldId="283"/>
            <ac:grpSpMk id="3" creationId="{67D40887-000E-1200-1AE9-75F966BFD04A}"/>
          </ac:grpSpMkLst>
        </pc:grpChg>
        <pc:picChg chg="mod">
          <ac:chgData name="Doevendans, Tjeerd (SCM FE GF PP)" userId="d28c39a9-8d57-4727-941b-53d4efee6083" providerId="ADAL" clId="{85CA1EBA-7008-4FCF-8DC6-BC180854C441}" dt="2025-06-05T09:38:35.901" v="1039" actId="2711"/>
          <ac:picMkLst>
            <pc:docMk/>
            <pc:sldMk cId="2004678249" sldId="283"/>
            <ac:picMk id="8" creationId="{842DF8AA-71EE-433D-8430-50DA89232D4D}"/>
          </ac:picMkLst>
        </pc:picChg>
        <pc:picChg chg="mod">
          <ac:chgData name="Doevendans, Tjeerd (SCM FE GF PP)" userId="d28c39a9-8d57-4727-941b-53d4efee6083" providerId="ADAL" clId="{85CA1EBA-7008-4FCF-8DC6-BC180854C441}" dt="2025-06-05T09:38:35.901" v="1039" actId="2711"/>
          <ac:picMkLst>
            <pc:docMk/>
            <pc:sldMk cId="2004678249" sldId="283"/>
            <ac:picMk id="12" creationId="{E56A77F8-0090-4840-B6AB-B24CC62576B8}"/>
          </ac:picMkLst>
        </pc:picChg>
      </pc:sldChg>
      <pc:sldChg chg="modSp mod">
        <pc:chgData name="Doevendans, Tjeerd (SCM FE GF PP)" userId="d28c39a9-8d57-4727-941b-53d4efee6083" providerId="ADAL" clId="{85CA1EBA-7008-4FCF-8DC6-BC180854C441}" dt="2025-06-05T09:54:39.321" v="1356" actId="20577"/>
        <pc:sldMkLst>
          <pc:docMk/>
          <pc:sldMk cId="55359924" sldId="2147375974"/>
        </pc:sldMkLst>
        <pc:spChg chg="mod">
          <ac:chgData name="Doevendans, Tjeerd (SCM FE GF PP)" userId="d28c39a9-8d57-4727-941b-53d4efee6083" providerId="ADAL" clId="{85CA1EBA-7008-4FCF-8DC6-BC180854C441}" dt="2025-06-05T09:54:39.321" v="1356" actId="20577"/>
          <ac:spMkLst>
            <pc:docMk/>
            <pc:sldMk cId="55359924" sldId="2147375974"/>
            <ac:spMk id="2" creationId="{00000000-0000-0000-0000-000000000000}"/>
          </ac:spMkLst>
        </pc:spChg>
        <pc:spChg chg="mod">
          <ac:chgData name="Doevendans, Tjeerd (SCM FE GF PP)" userId="d28c39a9-8d57-4727-941b-53d4efee6083" providerId="ADAL" clId="{85CA1EBA-7008-4FCF-8DC6-BC180854C441}" dt="2025-06-05T09:16:39.853" v="913" actId="20577"/>
          <ac:spMkLst>
            <pc:docMk/>
            <pc:sldMk cId="55359924" sldId="2147375974"/>
            <ac:spMk id="27" creationId="{3411428E-7707-5846-9ABB-6CD51FFF6085}"/>
          </ac:spMkLst>
        </pc:spChg>
      </pc:sldChg>
      <pc:sldChg chg="modSp mod">
        <pc:chgData name="Doevendans, Tjeerd (SCM FE GF PP)" userId="d28c39a9-8d57-4727-941b-53d4efee6083" providerId="ADAL" clId="{85CA1EBA-7008-4FCF-8DC6-BC180854C441}" dt="2025-06-05T09:52:36.616" v="1282" actId="20577"/>
        <pc:sldMkLst>
          <pc:docMk/>
          <pc:sldMk cId="2396552100" sldId="2147375995"/>
        </pc:sldMkLst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5" creationId="{3C145552-A5ED-BC98-EC48-9DCB49482134}"/>
          </ac:spMkLst>
        </pc:spChg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13" creationId="{BFBF49EA-24F1-411B-BEDE-CD73451C1F2C}"/>
          </ac:spMkLst>
        </pc:spChg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14" creationId="{E87F7C87-A541-4722-84F1-998063E65C30}"/>
          </ac:spMkLst>
        </pc:spChg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16" creationId="{228C675A-EE97-4EA0-A329-E553B60174D8}"/>
          </ac:spMkLst>
        </pc:spChg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17" creationId="{8F256B97-6B26-4184-B5E7-BEE80B6B58B9}"/>
          </ac:spMkLst>
        </pc:spChg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20" creationId="{F673E969-4AC8-4674-B0C6-8EE5D23D0A93}"/>
          </ac:spMkLst>
        </pc:spChg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25" creationId="{00000000-0000-0000-0000-000000000000}"/>
          </ac:spMkLst>
        </pc:spChg>
        <pc:spChg chg="mod">
          <ac:chgData name="Doevendans, Tjeerd (SCM FE GF PP)" userId="d28c39a9-8d57-4727-941b-53d4efee6083" providerId="ADAL" clId="{85CA1EBA-7008-4FCF-8DC6-BC180854C441}" dt="2025-06-05T09:45:59.093" v="1136" actId="6549"/>
          <ac:spMkLst>
            <pc:docMk/>
            <pc:sldMk cId="2396552100" sldId="2147375995"/>
            <ac:spMk id="205" creationId="{00000000-0000-0000-0000-000000000000}"/>
          </ac:spMkLst>
        </pc:spChg>
        <pc:spChg chg="mod">
          <ac:chgData name="Doevendans, Tjeerd (SCM FE GF PP)" userId="d28c39a9-8d57-4727-941b-53d4efee6083" providerId="ADAL" clId="{85CA1EBA-7008-4FCF-8DC6-BC180854C441}" dt="2025-06-05T09:38:47.043" v="1040" actId="2711"/>
          <ac:spMkLst>
            <pc:docMk/>
            <pc:sldMk cId="2396552100" sldId="2147375995"/>
            <ac:spMk id="206" creationId="{00000000-0000-0000-0000-000000000000}"/>
          </ac:spMkLst>
        </pc:spChg>
        <pc:spChg chg="mod">
          <ac:chgData name="Doevendans, Tjeerd (SCM FE GF PP)" userId="d28c39a9-8d57-4727-941b-53d4efee6083" providerId="ADAL" clId="{85CA1EBA-7008-4FCF-8DC6-BC180854C441}" dt="2025-06-05T09:52:36.616" v="1282" actId="20577"/>
          <ac:spMkLst>
            <pc:docMk/>
            <pc:sldMk cId="2396552100" sldId="2147375995"/>
            <ac:spMk id="161800" creationId="{00000000-0000-0000-0000-000000000000}"/>
          </ac:spMkLst>
        </pc:spChg>
      </pc:sldChg>
      <pc:sldChg chg="modSp mod">
        <pc:chgData name="Doevendans, Tjeerd (SCM FE GF PP)" userId="d28c39a9-8d57-4727-941b-53d4efee6083" providerId="ADAL" clId="{85CA1EBA-7008-4FCF-8DC6-BC180854C441}" dt="2025-06-05T09:52:03.214" v="1265" actId="20577"/>
        <pc:sldMkLst>
          <pc:docMk/>
          <pc:sldMk cId="2674116732" sldId="2147472450"/>
        </pc:sldMkLst>
        <pc:spChg chg="mod">
          <ac:chgData name="Doevendans, Tjeerd (SCM FE GF PP)" userId="d28c39a9-8d57-4727-941b-53d4efee6083" providerId="ADAL" clId="{85CA1EBA-7008-4FCF-8DC6-BC180854C441}" dt="2025-06-05T09:52:03.214" v="1265" actId="20577"/>
          <ac:spMkLst>
            <pc:docMk/>
            <pc:sldMk cId="2674116732" sldId="2147472450"/>
            <ac:spMk id="2" creationId="{D5785771-129B-CA14-0F5B-D03260509CDE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6" creationId="{026BC5AA-3406-9077-DE4F-302BC6A70FFA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10" creationId="{D5558178-2463-AF15-6D3A-DC84C639219F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12" creationId="{4BAD6C06-1408-1824-33A5-35025D852E6B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13" creationId="{9E460057-E9F2-482F-B072-D0CD430DD91D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14" creationId="{7915B46D-F1AE-88EC-F0EF-6D3A5000A907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15" creationId="{D1183715-DA8A-F2D4-70B8-0B490E4FFB13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17" creationId="{7636877C-4108-5187-30B9-7F4E69A2AE92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19" creationId="{29BA9092-7FC3-11F0-F7A1-8FCFE4F63D10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20" creationId="{A05696C9-632B-6F51-EA15-61EF03104822}"/>
          </ac:spMkLst>
        </pc:spChg>
        <pc:spChg chg="mod">
          <ac:chgData name="Doevendans, Tjeerd (SCM FE GF PP)" userId="d28c39a9-8d57-4727-941b-53d4efee6083" providerId="ADAL" clId="{85CA1EBA-7008-4FCF-8DC6-BC180854C441}" dt="2025-06-05T09:40:40.219" v="1065" actId="2711"/>
          <ac:spMkLst>
            <pc:docMk/>
            <pc:sldMk cId="2674116732" sldId="2147472450"/>
            <ac:spMk id="21" creationId="{2B909F55-596D-69CB-FD9B-D6BBFF0727A4}"/>
          </ac:spMkLst>
        </pc:spChg>
      </pc:sldChg>
      <pc:sldChg chg="addSp modSp">
        <pc:chgData name="Doevendans, Tjeerd (SCM FE GF PP)" userId="d28c39a9-8d57-4727-941b-53d4efee6083" providerId="ADAL" clId="{85CA1EBA-7008-4FCF-8DC6-BC180854C441}" dt="2025-06-05T09:42:30.843" v="1075"/>
        <pc:sldMkLst>
          <pc:docMk/>
          <pc:sldMk cId="2654212918" sldId="2147472497"/>
        </pc:sldMkLst>
        <pc:spChg chg="add mod">
          <ac:chgData name="Doevendans, Tjeerd (SCM FE GF PP)" userId="d28c39a9-8d57-4727-941b-53d4efee6083" providerId="ADAL" clId="{85CA1EBA-7008-4FCF-8DC6-BC180854C441}" dt="2025-06-05T09:42:30.843" v="1075"/>
          <ac:spMkLst>
            <pc:docMk/>
            <pc:sldMk cId="2654212918" sldId="2147472497"/>
            <ac:spMk id="8" creationId="{3DC9E7E1-E64C-4F96-07C1-3F877E31C900}"/>
          </ac:spMkLst>
        </pc:spChg>
      </pc:sldChg>
      <pc:sldChg chg="modSp mod">
        <pc:chgData name="Doevendans, Tjeerd (SCM FE GF PP)" userId="d28c39a9-8d57-4727-941b-53d4efee6083" providerId="ADAL" clId="{85CA1EBA-7008-4FCF-8DC6-BC180854C441}" dt="2025-06-05T09:53:20.592" v="1318" actId="20577"/>
        <pc:sldMkLst>
          <pc:docMk/>
          <pc:sldMk cId="1505309651" sldId="2147472538"/>
        </pc:sldMkLst>
        <pc:spChg chg="mod">
          <ac:chgData name="Doevendans, Tjeerd (SCM FE GF PP)" userId="d28c39a9-8d57-4727-941b-53d4efee6083" providerId="ADAL" clId="{85CA1EBA-7008-4FCF-8DC6-BC180854C441}" dt="2025-06-05T09:41:07.703" v="1066" actId="2711"/>
          <ac:spMkLst>
            <pc:docMk/>
            <pc:sldMk cId="1505309651" sldId="2147472538"/>
            <ac:spMk id="2" creationId="{B901E376-60FD-2EA1-CB30-BA0C80F75B67}"/>
          </ac:spMkLst>
        </pc:spChg>
        <pc:spChg chg="mod">
          <ac:chgData name="Doevendans, Tjeerd (SCM FE GF PP)" userId="d28c39a9-8d57-4727-941b-53d4efee6083" providerId="ADAL" clId="{85CA1EBA-7008-4FCF-8DC6-BC180854C441}" dt="2025-06-05T09:53:20.592" v="1318" actId="20577"/>
          <ac:spMkLst>
            <pc:docMk/>
            <pc:sldMk cId="1505309651" sldId="2147472538"/>
            <ac:spMk id="3" creationId="{DA20E4D6-4648-B95D-2C13-052670E51D03}"/>
          </ac:spMkLst>
        </pc:spChg>
        <pc:spChg chg="mod">
          <ac:chgData name="Doevendans, Tjeerd (SCM FE GF PP)" userId="d28c39a9-8d57-4727-941b-53d4efee6083" providerId="ADAL" clId="{85CA1EBA-7008-4FCF-8DC6-BC180854C441}" dt="2025-06-05T09:41:35.392" v="1070" actId="404"/>
          <ac:spMkLst>
            <pc:docMk/>
            <pc:sldMk cId="1505309651" sldId="2147472538"/>
            <ac:spMk id="7" creationId="{8217A188-06A2-D832-6C93-525BB69EC864}"/>
          </ac:spMkLst>
        </pc:spChg>
        <pc:spChg chg="mod">
          <ac:chgData name="Doevendans, Tjeerd (SCM FE GF PP)" userId="d28c39a9-8d57-4727-941b-53d4efee6083" providerId="ADAL" clId="{85CA1EBA-7008-4FCF-8DC6-BC180854C441}" dt="2025-06-05T09:41:30.215" v="1069" actId="404"/>
          <ac:spMkLst>
            <pc:docMk/>
            <pc:sldMk cId="1505309651" sldId="2147472538"/>
            <ac:spMk id="8" creationId="{B54DBA33-D78C-4A62-1D4C-54FA935314EB}"/>
          </ac:spMkLst>
        </pc:spChg>
        <pc:spChg chg="mod">
          <ac:chgData name="Doevendans, Tjeerd (SCM FE GF PP)" userId="d28c39a9-8d57-4727-941b-53d4efee6083" providerId="ADAL" clId="{85CA1EBA-7008-4FCF-8DC6-BC180854C441}" dt="2025-06-05T09:41:35.392" v="1070" actId="404"/>
          <ac:spMkLst>
            <pc:docMk/>
            <pc:sldMk cId="1505309651" sldId="2147472538"/>
            <ac:spMk id="10" creationId="{A4932D4E-573E-86D0-7E68-7E2F2863F17C}"/>
          </ac:spMkLst>
        </pc:spChg>
        <pc:spChg chg="mod">
          <ac:chgData name="Doevendans, Tjeerd (SCM FE GF PP)" userId="d28c39a9-8d57-4727-941b-53d4efee6083" providerId="ADAL" clId="{85CA1EBA-7008-4FCF-8DC6-BC180854C441}" dt="2025-06-05T09:41:35.392" v="1070" actId="404"/>
          <ac:spMkLst>
            <pc:docMk/>
            <pc:sldMk cId="1505309651" sldId="2147472538"/>
            <ac:spMk id="12" creationId="{95E22F8C-9DDD-74B5-52A9-18CCCF0F4CB1}"/>
          </ac:spMkLst>
        </pc:spChg>
        <pc:spChg chg="mod">
          <ac:chgData name="Doevendans, Tjeerd (SCM FE GF PP)" userId="d28c39a9-8d57-4727-941b-53d4efee6083" providerId="ADAL" clId="{85CA1EBA-7008-4FCF-8DC6-BC180854C441}" dt="2025-06-05T09:41:35.392" v="1070" actId="404"/>
          <ac:spMkLst>
            <pc:docMk/>
            <pc:sldMk cId="1505309651" sldId="2147472538"/>
            <ac:spMk id="13" creationId="{BC1E3174-384A-59F7-EDD8-FB1458879E83}"/>
          </ac:spMkLst>
        </pc:spChg>
      </pc:sldChg>
      <pc:sldChg chg="addSp modSp">
        <pc:chgData name="Doevendans, Tjeerd (SCM FE GF PP)" userId="d28c39a9-8d57-4727-941b-53d4efee6083" providerId="ADAL" clId="{85CA1EBA-7008-4FCF-8DC6-BC180854C441}" dt="2025-06-05T09:42:36.185" v="1078"/>
        <pc:sldMkLst>
          <pc:docMk/>
          <pc:sldMk cId="3458149745" sldId="2147472551"/>
        </pc:sldMkLst>
        <pc:spChg chg="add mod">
          <ac:chgData name="Doevendans, Tjeerd (SCM FE GF PP)" userId="d28c39a9-8d57-4727-941b-53d4efee6083" providerId="ADAL" clId="{85CA1EBA-7008-4FCF-8DC6-BC180854C441}" dt="2025-06-05T09:42:36.185" v="1078"/>
          <ac:spMkLst>
            <pc:docMk/>
            <pc:sldMk cId="3458149745" sldId="2147472551"/>
            <ac:spMk id="6" creationId="{5FFA5309-3815-9073-9531-60931E4CF85D}"/>
          </ac:spMkLst>
        </pc:spChg>
      </pc:sldChg>
      <pc:sldChg chg="addSp modSp mod">
        <pc:chgData name="Doevendans, Tjeerd (SCM FE GF PP)" userId="d28c39a9-8d57-4727-941b-53d4efee6083" providerId="ADAL" clId="{85CA1EBA-7008-4FCF-8DC6-BC180854C441}" dt="2025-06-05T09:53:50.515" v="1328" actId="20577"/>
        <pc:sldMkLst>
          <pc:docMk/>
          <pc:sldMk cId="386759398" sldId="2147472553"/>
        </pc:sldMkLst>
        <pc:spChg chg="mod">
          <ac:chgData name="Doevendans, Tjeerd (SCM FE GF PP)" userId="d28c39a9-8d57-4727-941b-53d4efee6083" providerId="ADAL" clId="{85CA1EBA-7008-4FCF-8DC6-BC180854C441}" dt="2025-06-05T09:41:49.418" v="1071" actId="2711"/>
          <ac:spMkLst>
            <pc:docMk/>
            <pc:sldMk cId="386759398" sldId="2147472553"/>
            <ac:spMk id="3" creationId="{448F7B2A-648B-848D-CAC5-399C84882595}"/>
          </ac:spMkLst>
        </pc:spChg>
        <pc:spChg chg="mod">
          <ac:chgData name="Doevendans, Tjeerd (SCM FE GF PP)" userId="d28c39a9-8d57-4727-941b-53d4efee6083" providerId="ADAL" clId="{85CA1EBA-7008-4FCF-8DC6-BC180854C441}" dt="2025-06-05T09:53:50.515" v="1328" actId="20577"/>
          <ac:spMkLst>
            <pc:docMk/>
            <pc:sldMk cId="386759398" sldId="2147472553"/>
            <ac:spMk id="6" creationId="{4640D619-F680-4123-C3B4-E16CD96A2B3F}"/>
          </ac:spMkLst>
        </pc:spChg>
        <pc:spChg chg="mod">
          <ac:chgData name="Doevendans, Tjeerd (SCM FE GF PP)" userId="d28c39a9-8d57-4727-941b-53d4efee6083" providerId="ADAL" clId="{85CA1EBA-7008-4FCF-8DC6-BC180854C441}" dt="2025-06-05T09:41:49.418" v="1071" actId="2711"/>
          <ac:spMkLst>
            <pc:docMk/>
            <pc:sldMk cId="386759398" sldId="2147472553"/>
            <ac:spMk id="7" creationId="{575B61AF-18B4-721E-651A-5A376A54BA9B}"/>
          </ac:spMkLst>
        </pc:spChg>
        <pc:spChg chg="add mod">
          <ac:chgData name="Doevendans, Tjeerd (SCM FE GF PP)" userId="d28c39a9-8d57-4727-941b-53d4efee6083" providerId="ADAL" clId="{85CA1EBA-7008-4FCF-8DC6-BC180854C441}" dt="2025-06-05T09:42:44.545" v="1081"/>
          <ac:spMkLst>
            <pc:docMk/>
            <pc:sldMk cId="386759398" sldId="2147472553"/>
            <ac:spMk id="11" creationId="{C5883C6D-317D-71BD-4006-53D30C0FD34A}"/>
          </ac:spMkLst>
        </pc:spChg>
        <pc:spChg chg="add mod">
          <ac:chgData name="Doevendans, Tjeerd (SCM FE GF PP)" userId="d28c39a9-8d57-4727-941b-53d4efee6083" providerId="ADAL" clId="{85CA1EBA-7008-4FCF-8DC6-BC180854C441}" dt="2025-06-05T09:42:57.542" v="1083"/>
          <ac:spMkLst>
            <pc:docMk/>
            <pc:sldMk cId="386759398" sldId="2147472553"/>
            <ac:spMk id="13" creationId="{59708C1C-BE1B-D2F9-398F-13E6CD5A6396}"/>
          </ac:spMkLst>
        </pc:spChg>
      </pc:sldChg>
      <pc:sldChg chg="addSp delSp modSp mod modNotesTx">
        <pc:chgData name="Doevendans, Tjeerd (SCM FE GF PP)" userId="d28c39a9-8d57-4727-941b-53d4efee6083" providerId="ADAL" clId="{85CA1EBA-7008-4FCF-8DC6-BC180854C441}" dt="2025-06-05T09:49:45.346" v="1168" actId="20577"/>
        <pc:sldMkLst>
          <pc:docMk/>
          <pc:sldMk cId="3842038603" sldId="2147483646"/>
        </pc:sldMkLst>
        <pc:spChg chg="mod">
          <ac:chgData name="Doevendans, Tjeerd (SCM FE GF PP)" userId="d28c39a9-8d57-4727-941b-53d4efee6083" providerId="ADAL" clId="{85CA1EBA-7008-4FCF-8DC6-BC180854C441}" dt="2025-06-05T09:49:45.346" v="1168" actId="20577"/>
          <ac:spMkLst>
            <pc:docMk/>
            <pc:sldMk cId="3842038603" sldId="2147483646"/>
            <ac:spMk id="2" creationId="{BA2CB361-AC9F-46DC-A375-0D8DB674A434}"/>
          </ac:spMkLst>
        </pc:spChg>
        <pc:spChg chg="mod">
          <ac:chgData name="Doevendans, Tjeerd (SCM FE GF PP)" userId="d28c39a9-8d57-4727-941b-53d4efee6083" providerId="ADAL" clId="{85CA1EBA-7008-4FCF-8DC6-BC180854C441}" dt="2025-06-05T09:30:42.528" v="920" actId="20577"/>
          <ac:spMkLst>
            <pc:docMk/>
            <pc:sldMk cId="3842038603" sldId="2147483646"/>
            <ac:spMk id="4" creationId="{30ED0A8F-F6F7-C701-73A1-27D0E5DB2082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8" creationId="{852A6466-C3A7-9BF5-4FFF-6A0023C31F8C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13" creationId="{C5E373E0-6E8F-46BA-CD9A-1000F4BA656B}"/>
          </ac:spMkLst>
        </pc:spChg>
        <pc:spChg chg="mod">
          <ac:chgData name="Doevendans, Tjeerd (SCM FE GF PP)" userId="d28c39a9-8d57-4727-941b-53d4efee6083" providerId="ADAL" clId="{85CA1EBA-7008-4FCF-8DC6-BC180854C441}" dt="2025-06-05T09:30:37.589" v="916" actId="20577"/>
          <ac:spMkLst>
            <pc:docMk/>
            <pc:sldMk cId="3842038603" sldId="2147483646"/>
            <ac:spMk id="16" creationId="{AA42D7D7-9CAB-6E00-E0EE-DE342C6DE40E}"/>
          </ac:spMkLst>
        </pc:spChg>
        <pc:spChg chg="mod">
          <ac:chgData name="Doevendans, Tjeerd (SCM FE GF PP)" userId="d28c39a9-8d57-4727-941b-53d4efee6083" providerId="ADAL" clId="{85CA1EBA-7008-4FCF-8DC6-BC180854C441}" dt="2025-06-05T09:30:38.546" v="917" actId="20577"/>
          <ac:spMkLst>
            <pc:docMk/>
            <pc:sldMk cId="3842038603" sldId="2147483646"/>
            <ac:spMk id="17" creationId="{34A0AF5A-7A6B-CA62-F21C-C6B29AAD14EC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18" creationId="{28E5239C-90B4-96BB-99CC-AE642ABD7DC6}"/>
          </ac:spMkLst>
        </pc:spChg>
        <pc:spChg chg="add mod">
          <ac:chgData name="Doevendans, Tjeerd (SCM FE GF PP)" userId="d28c39a9-8d57-4727-941b-53d4efee6083" providerId="ADAL" clId="{85CA1EBA-7008-4FCF-8DC6-BC180854C441}" dt="2025-06-05T09:34:13.730" v="987" actId="403"/>
          <ac:spMkLst>
            <pc:docMk/>
            <pc:sldMk cId="3842038603" sldId="2147483646"/>
            <ac:spMk id="19" creationId="{3A3A034C-9D86-F1D0-EBAB-D6B7EB1C89E0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20" creationId="{54BA9767-9E87-34F3-7C0A-E4209194C199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23" creationId="{EC8E802E-D722-70D3-6CB0-EA67F545D391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25" creationId="{612FB096-5910-E10A-3B72-259BA0E1F85E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28" creationId="{32DDC68D-9C7F-D4CD-048A-58A7C1350C1F}"/>
          </ac:spMkLst>
        </pc:spChg>
        <pc:spChg chg="mod">
          <ac:chgData name="Doevendans, Tjeerd (SCM FE GF PP)" userId="d28c39a9-8d57-4727-941b-53d4efee6083" providerId="ADAL" clId="{85CA1EBA-7008-4FCF-8DC6-BC180854C441}" dt="2025-06-05T09:40:33.440" v="1064" actId="20577"/>
          <ac:spMkLst>
            <pc:docMk/>
            <pc:sldMk cId="3842038603" sldId="2147483646"/>
            <ac:spMk id="31" creationId="{CC7514DA-81F8-0543-0242-CB63AD9B5F88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33" creationId="{568C6593-326A-C948-04FE-034FDF7889BA}"/>
          </ac:spMkLst>
        </pc:spChg>
        <pc:spChg chg="mod">
          <ac:chgData name="Doevendans, Tjeerd (SCM FE GF PP)" userId="d28c39a9-8d57-4727-941b-53d4efee6083" providerId="ADAL" clId="{85CA1EBA-7008-4FCF-8DC6-BC180854C441}" dt="2025-06-05T09:40:20.781" v="1063" actId="20577"/>
          <ac:spMkLst>
            <pc:docMk/>
            <pc:sldMk cId="3842038603" sldId="2147483646"/>
            <ac:spMk id="34" creationId="{9A1FB5DC-CDE2-49A8-E913-67B5E4E9749D}"/>
          </ac:spMkLst>
        </pc:spChg>
        <pc:spChg chg="mod">
          <ac:chgData name="Doevendans, Tjeerd (SCM FE GF PP)" userId="d28c39a9-8d57-4727-941b-53d4efee6083" providerId="ADAL" clId="{85CA1EBA-7008-4FCF-8DC6-BC180854C441}" dt="2025-06-05T09:30:44.933" v="922" actId="20577"/>
          <ac:spMkLst>
            <pc:docMk/>
            <pc:sldMk cId="3842038603" sldId="2147483646"/>
            <ac:spMk id="35" creationId="{FE55A237-F0CE-4E86-2537-4DB2D24E9B1B}"/>
          </ac:spMkLst>
        </pc:spChg>
        <pc:spChg chg="mod">
          <ac:chgData name="Doevendans, Tjeerd (SCM FE GF PP)" userId="d28c39a9-8d57-4727-941b-53d4efee6083" providerId="ADAL" clId="{85CA1EBA-7008-4FCF-8DC6-BC180854C441}" dt="2025-06-05T08:57:03.770" v="4" actId="14100"/>
          <ac:spMkLst>
            <pc:docMk/>
            <pc:sldMk cId="3842038603" sldId="2147483646"/>
            <ac:spMk id="36" creationId="{088DCF41-76F1-BF2C-31D5-387DE7658BD2}"/>
          </ac:spMkLst>
        </pc:spChg>
        <pc:spChg chg="mod">
          <ac:chgData name="Doevendans, Tjeerd (SCM FE GF PP)" userId="d28c39a9-8d57-4727-941b-53d4efee6083" providerId="ADAL" clId="{85CA1EBA-7008-4FCF-8DC6-BC180854C441}" dt="2025-06-05T09:39:54.359" v="1057" actId="2711"/>
          <ac:spMkLst>
            <pc:docMk/>
            <pc:sldMk cId="3842038603" sldId="2147483646"/>
            <ac:spMk id="41" creationId="{9FD83A17-2F18-767B-DED5-83D22ADF736C}"/>
          </ac:spMkLst>
        </pc:spChg>
        <pc:spChg chg="mod">
          <ac:chgData name="Doevendans, Tjeerd (SCM FE GF PP)" userId="d28c39a9-8d57-4727-941b-53d4efee6083" providerId="ADAL" clId="{85CA1EBA-7008-4FCF-8DC6-BC180854C441}" dt="2025-06-05T09:30:43.761" v="921" actId="20577"/>
          <ac:spMkLst>
            <pc:docMk/>
            <pc:sldMk cId="3842038603" sldId="2147483646"/>
            <ac:spMk id="45" creationId="{A979E65F-DFF9-D357-295C-E7237FF4279F}"/>
          </ac:spMkLst>
        </pc:spChg>
        <pc:spChg chg="mod">
          <ac:chgData name="Doevendans, Tjeerd (SCM FE GF PP)" userId="d28c39a9-8d57-4727-941b-53d4efee6083" providerId="ADAL" clId="{85CA1EBA-7008-4FCF-8DC6-BC180854C441}" dt="2025-06-05T08:58:59.565" v="63" actId="20577"/>
          <ac:spMkLst>
            <pc:docMk/>
            <pc:sldMk cId="3842038603" sldId="2147483646"/>
            <ac:spMk id="50" creationId="{185A6D1D-B2FE-CA17-5C47-A9A89F6866D4}"/>
          </ac:spMkLst>
        </pc:spChg>
        <pc:grpChg chg="mod">
          <ac:chgData name="Doevendans, Tjeerd (SCM FE GF PP)" userId="d28c39a9-8d57-4727-941b-53d4efee6083" providerId="ADAL" clId="{85CA1EBA-7008-4FCF-8DC6-BC180854C441}" dt="2025-06-05T08:57:03.770" v="4" actId="14100"/>
          <ac:grpSpMkLst>
            <pc:docMk/>
            <pc:sldMk cId="3842038603" sldId="2147483646"/>
            <ac:grpSpMk id="14" creationId="{3834F726-87E6-2E85-EC4F-260B124806EF}"/>
          </ac:grpSpMkLst>
        </pc:grpChg>
      </pc:sldChg>
      <pc:sldMasterChg chg="delSp mod">
        <pc:chgData name="Doevendans, Tjeerd (SCM FE GF PP)" userId="d28c39a9-8d57-4727-941b-53d4efee6083" providerId="ADAL" clId="{85CA1EBA-7008-4FCF-8DC6-BC180854C441}" dt="2025-06-05T09:42:23.534" v="1072" actId="478"/>
        <pc:sldMasterMkLst>
          <pc:docMk/>
          <pc:sldMasterMk cId="991842644" sldId="2147483724"/>
        </pc:sldMasterMkLst>
      </pc:sldMasterChg>
    </pc:docChg>
  </pc:docChgLst>
  <pc:docChgLst>
    <pc:chgData name="Thomas Janvier" userId="33deb15f-1470-45e4-9cf7-c3830223dcbb" providerId="ADAL" clId="{97B5AACC-9C6C-5E48-9A5A-FA9D13236B34}"/>
    <pc:docChg chg="undo custSel addSld delSld modSld sldOrd modMainMaster modSection">
      <pc:chgData name="Thomas Janvier" userId="33deb15f-1470-45e4-9cf7-c3830223dcbb" providerId="ADAL" clId="{97B5AACC-9C6C-5E48-9A5A-FA9D13236B34}" dt="2025-03-16T14:28:09.157" v="1105" actId="2696"/>
      <pc:docMkLst>
        <pc:docMk/>
      </pc:docMkLst>
      <pc:sldChg chg="add del">
        <pc:chgData name="Thomas Janvier" userId="33deb15f-1470-45e4-9cf7-c3830223dcbb" providerId="ADAL" clId="{97B5AACC-9C6C-5E48-9A5A-FA9D13236B34}" dt="2025-03-13T07:37:39.994" v="125"/>
        <pc:sldMkLst>
          <pc:docMk/>
          <pc:sldMk cId="626688586" sldId="259"/>
        </pc:sldMkLst>
      </pc:sldChg>
      <pc:sldChg chg="mod modShow">
        <pc:chgData name="Thomas Janvier" userId="33deb15f-1470-45e4-9cf7-c3830223dcbb" providerId="ADAL" clId="{97B5AACC-9C6C-5E48-9A5A-FA9D13236B34}" dt="2025-03-13T07:32:56.438" v="5" actId="729"/>
        <pc:sldMkLst>
          <pc:docMk/>
          <pc:sldMk cId="950738896" sldId="260"/>
        </pc:sldMkLst>
      </pc:sldChg>
      <pc:sldChg chg="del">
        <pc:chgData name="Thomas Janvier" userId="33deb15f-1470-45e4-9cf7-c3830223dcbb" providerId="ADAL" clId="{97B5AACC-9C6C-5E48-9A5A-FA9D13236B34}" dt="2025-03-13T07:34:19.716" v="22" actId="2696"/>
        <pc:sldMkLst>
          <pc:docMk/>
          <pc:sldMk cId="1023817728" sldId="261"/>
        </pc:sldMkLst>
      </pc:sldChg>
      <pc:sldChg chg="add del">
        <pc:chgData name="Thomas Janvier" userId="33deb15f-1470-45e4-9cf7-c3830223dcbb" providerId="ADAL" clId="{97B5AACC-9C6C-5E48-9A5A-FA9D13236B34}" dt="2025-03-13T07:35:25.408" v="29"/>
        <pc:sldMkLst>
          <pc:docMk/>
          <pc:sldMk cId="1114873244" sldId="261"/>
        </pc:sldMkLst>
      </pc:sldChg>
      <pc:sldChg chg="add">
        <pc:chgData name="Thomas Janvier" userId="33deb15f-1470-45e4-9cf7-c3830223dcbb" providerId="ADAL" clId="{97B5AACC-9C6C-5E48-9A5A-FA9D13236B34}" dt="2025-03-13T07:35:25.430" v="30"/>
        <pc:sldMkLst>
          <pc:docMk/>
          <pc:sldMk cId="3642073742" sldId="261"/>
        </pc:sldMkLst>
      </pc:sldChg>
      <pc:sldChg chg="del">
        <pc:chgData name="Thomas Janvier" userId="33deb15f-1470-45e4-9cf7-c3830223dcbb" providerId="ADAL" clId="{97B5AACC-9C6C-5E48-9A5A-FA9D13236B34}" dt="2025-03-13T07:34:52.642" v="24" actId="2696"/>
        <pc:sldMkLst>
          <pc:docMk/>
          <pc:sldMk cId="2599775191" sldId="262"/>
        </pc:sldMkLst>
      </pc:sldChg>
      <pc:sldChg chg="add del">
        <pc:chgData name="Thomas Janvier" userId="33deb15f-1470-45e4-9cf7-c3830223dcbb" providerId="ADAL" clId="{97B5AACC-9C6C-5E48-9A5A-FA9D13236B34}" dt="2025-03-13T07:35:25.408" v="29"/>
        <pc:sldMkLst>
          <pc:docMk/>
          <pc:sldMk cId="3419409968" sldId="262"/>
        </pc:sldMkLst>
      </pc:sldChg>
      <pc:sldChg chg="modSp add mod ord">
        <pc:chgData name="Thomas Janvier" userId="33deb15f-1470-45e4-9cf7-c3830223dcbb" providerId="ADAL" clId="{97B5AACC-9C6C-5E48-9A5A-FA9D13236B34}" dt="2025-03-13T13:22:07.329" v="363" actId="14100"/>
        <pc:sldMkLst>
          <pc:docMk/>
          <pc:sldMk cId="3606127218" sldId="262"/>
        </pc:sldMkLst>
      </pc:sldChg>
      <pc:sldChg chg="del">
        <pc:chgData name="Thomas Janvier" userId="33deb15f-1470-45e4-9cf7-c3830223dcbb" providerId="ADAL" clId="{97B5AACC-9C6C-5E48-9A5A-FA9D13236B34}" dt="2025-03-13T07:35:33.686" v="32" actId="2696"/>
        <pc:sldMkLst>
          <pc:docMk/>
          <pc:sldMk cId="3591274952" sldId="263"/>
        </pc:sldMkLst>
      </pc:sldChg>
      <pc:sldChg chg="modSp new mod">
        <pc:chgData name="Thomas Janvier" userId="33deb15f-1470-45e4-9cf7-c3830223dcbb" providerId="ADAL" clId="{97B5AACC-9C6C-5E48-9A5A-FA9D13236B34}" dt="2025-03-13T07:36:55.334" v="121" actId="20577"/>
        <pc:sldMkLst>
          <pc:docMk/>
          <pc:sldMk cId="4065483237" sldId="263"/>
        </pc:sldMkLst>
      </pc:sldChg>
      <pc:sldChg chg="modSp add mod">
        <pc:chgData name="Thomas Janvier" userId="33deb15f-1470-45e4-9cf7-c3830223dcbb" providerId="ADAL" clId="{97B5AACC-9C6C-5E48-9A5A-FA9D13236B34}" dt="2025-03-13T07:33:40.862" v="21" actId="1076"/>
        <pc:sldMkLst>
          <pc:docMk/>
          <pc:sldMk cId="2227279540" sldId="264"/>
        </pc:sldMkLst>
      </pc:sldChg>
      <pc:sldChg chg="add del">
        <pc:chgData name="Thomas Janvier" userId="33deb15f-1470-45e4-9cf7-c3830223dcbb" providerId="ADAL" clId="{97B5AACC-9C6C-5E48-9A5A-FA9D13236B34}" dt="2025-03-13T07:32:40.153" v="1"/>
        <pc:sldMkLst>
          <pc:docMk/>
          <pc:sldMk cId="2319893408" sldId="264"/>
        </pc:sldMkLst>
      </pc:sldChg>
      <pc:sldChg chg="addSp modSp new del mod">
        <pc:chgData name="Thomas Janvier" userId="33deb15f-1470-45e4-9cf7-c3830223dcbb" providerId="ADAL" clId="{97B5AACC-9C6C-5E48-9A5A-FA9D13236B34}" dt="2025-03-16T14:28:09.157" v="1105" actId="2696"/>
        <pc:sldMkLst>
          <pc:docMk/>
          <pc:sldMk cId="758151046" sldId="265"/>
        </pc:sldMkLst>
      </pc:sldChg>
      <pc:sldChg chg="delSp add del mod">
        <pc:chgData name="Thomas Janvier" userId="33deb15f-1470-45e4-9cf7-c3830223dcbb" providerId="ADAL" clId="{97B5AACC-9C6C-5E48-9A5A-FA9D13236B34}" dt="2025-03-13T07:32:45.707" v="4" actId="478"/>
        <pc:sldMkLst>
          <pc:docMk/>
          <pc:sldMk cId="2634446920" sldId="266"/>
        </pc:sldMkLst>
      </pc:sldChg>
      <pc:sldChg chg="del">
        <pc:chgData name="Thomas Janvier" userId="33deb15f-1470-45e4-9cf7-c3830223dcbb" providerId="ADAL" clId="{97B5AACC-9C6C-5E48-9A5A-FA9D13236B34}" dt="2025-03-13T07:37:02.730" v="122" actId="2696"/>
        <pc:sldMkLst>
          <pc:docMk/>
          <pc:sldMk cId="2311229715" sldId="272"/>
        </pc:sldMkLst>
      </pc:sldChg>
      <pc:sldChg chg="add del">
        <pc:chgData name="Thomas Janvier" userId="33deb15f-1470-45e4-9cf7-c3830223dcbb" providerId="ADAL" clId="{97B5AACC-9C6C-5E48-9A5A-FA9D13236B34}" dt="2025-03-13T07:35:08.185" v="27"/>
        <pc:sldMkLst>
          <pc:docMk/>
          <pc:sldMk cId="0" sldId="277"/>
        </pc:sldMkLst>
      </pc:sldChg>
      <pc:sldChg chg="addSp delSp modSp add del mod ord modAnim modNotesTx">
        <pc:chgData name="Thomas Janvier" userId="33deb15f-1470-45e4-9cf7-c3830223dcbb" providerId="ADAL" clId="{97B5AACC-9C6C-5E48-9A5A-FA9D13236B34}" dt="2025-03-16T14:27:27.692" v="1104"/>
        <pc:sldMkLst>
          <pc:docMk/>
          <pc:sldMk cId="3221698417" sldId="279"/>
        </pc:sldMkLst>
      </pc:sldChg>
      <pc:sldChg chg="add del ord">
        <pc:chgData name="Thomas Janvier" userId="33deb15f-1470-45e4-9cf7-c3830223dcbb" providerId="ADAL" clId="{97B5AACC-9C6C-5E48-9A5A-FA9D13236B34}" dt="2025-03-16T14:17:44.991" v="371" actId="20578"/>
        <pc:sldMkLst>
          <pc:docMk/>
          <pc:sldMk cId="2452997193" sldId="281"/>
        </pc:sldMkLst>
      </pc:sldChg>
      <pc:sldChg chg="delSp mod">
        <pc:chgData name="Thomas Janvier" userId="33deb15f-1470-45e4-9cf7-c3830223dcbb" providerId="ADAL" clId="{97B5AACC-9C6C-5E48-9A5A-FA9D13236B34}" dt="2025-03-13T07:34:29.173" v="23" actId="478"/>
        <pc:sldMkLst>
          <pc:docMk/>
          <pc:sldMk cId="2396552100" sldId="2147375995"/>
        </pc:sldMkLst>
      </pc:sldChg>
      <pc:sldChg chg="add del">
        <pc:chgData name="Thomas Janvier" userId="33deb15f-1470-45e4-9cf7-c3830223dcbb" providerId="ADAL" clId="{97B5AACC-9C6C-5E48-9A5A-FA9D13236B34}" dt="2025-03-13T07:37:39.994" v="125"/>
        <pc:sldMkLst>
          <pc:docMk/>
          <pc:sldMk cId="1995063697" sldId="2147376349"/>
        </pc:sldMkLst>
      </pc:sldChg>
      <pc:sldChg chg="del">
        <pc:chgData name="Thomas Janvier" userId="33deb15f-1470-45e4-9cf7-c3830223dcbb" providerId="ADAL" clId="{97B5AACC-9C6C-5E48-9A5A-FA9D13236B34}" dt="2025-03-13T07:35:30.656" v="31" actId="2696"/>
        <pc:sldMkLst>
          <pc:docMk/>
          <pc:sldMk cId="561471228" sldId="2147376433"/>
        </pc:sldMkLst>
      </pc:sldChg>
      <pc:sldChg chg="add del">
        <pc:chgData name="Thomas Janvier" userId="33deb15f-1470-45e4-9cf7-c3830223dcbb" providerId="ADAL" clId="{97B5AACC-9C6C-5E48-9A5A-FA9D13236B34}" dt="2025-03-13T07:37:39.994" v="125"/>
        <pc:sldMkLst>
          <pc:docMk/>
          <pc:sldMk cId="430977981" sldId="2147376436"/>
        </pc:sldMkLst>
      </pc:sldChg>
      <pc:sldChg chg="add del">
        <pc:chgData name="Thomas Janvier" userId="33deb15f-1470-45e4-9cf7-c3830223dcbb" providerId="ADAL" clId="{97B5AACC-9C6C-5E48-9A5A-FA9D13236B34}" dt="2025-03-13T07:35:08.185" v="27"/>
        <pc:sldMkLst>
          <pc:docMk/>
          <pc:sldMk cId="89217895" sldId="2147376456"/>
        </pc:sldMkLst>
      </pc:sldChg>
      <pc:sldChg chg="add del">
        <pc:chgData name="Thomas Janvier" userId="33deb15f-1470-45e4-9cf7-c3830223dcbb" providerId="ADAL" clId="{97B5AACC-9C6C-5E48-9A5A-FA9D13236B34}" dt="2025-03-13T07:35:08.185" v="27"/>
        <pc:sldMkLst>
          <pc:docMk/>
          <pc:sldMk cId="3640455307" sldId="2147376457"/>
        </pc:sldMkLst>
      </pc:sldChg>
      <pc:sldChg chg="add del">
        <pc:chgData name="Thomas Janvier" userId="33deb15f-1470-45e4-9cf7-c3830223dcbb" providerId="ADAL" clId="{97B5AACC-9C6C-5E48-9A5A-FA9D13236B34}" dt="2025-03-13T07:37:44.315" v="126" actId="2696"/>
        <pc:sldMkLst>
          <pc:docMk/>
          <pc:sldMk cId="926897377" sldId="2147376460"/>
        </pc:sldMkLst>
      </pc:sldChg>
      <pc:sldChg chg="del">
        <pc:chgData name="Thomas Janvier" userId="33deb15f-1470-45e4-9cf7-c3830223dcbb" providerId="ADAL" clId="{97B5AACC-9C6C-5E48-9A5A-FA9D13236B34}" dt="2025-03-13T07:35:30.656" v="31" actId="2696"/>
        <pc:sldMkLst>
          <pc:docMk/>
          <pc:sldMk cId="1483181219" sldId="2147376578"/>
        </pc:sldMkLst>
      </pc:sldChg>
      <pc:sldChg chg="del">
        <pc:chgData name="Thomas Janvier" userId="33deb15f-1470-45e4-9cf7-c3830223dcbb" providerId="ADAL" clId="{97B5AACC-9C6C-5E48-9A5A-FA9D13236B34}" dt="2025-03-13T07:37:02.730" v="122" actId="2696"/>
        <pc:sldMkLst>
          <pc:docMk/>
          <pc:sldMk cId="1638758717" sldId="2147472500"/>
        </pc:sldMkLst>
      </pc:sldChg>
      <pc:sldChg chg="add del">
        <pc:chgData name="Thomas Janvier" userId="33deb15f-1470-45e4-9cf7-c3830223dcbb" providerId="ADAL" clId="{97B5AACC-9C6C-5E48-9A5A-FA9D13236B34}" dt="2025-03-13T07:37:39.994" v="125"/>
        <pc:sldMkLst>
          <pc:docMk/>
          <pc:sldMk cId="2586798033" sldId="2147482693"/>
        </pc:sldMkLst>
      </pc:sldChg>
      <pc:sldChg chg="add del">
        <pc:chgData name="Thomas Janvier" userId="33deb15f-1470-45e4-9cf7-c3830223dcbb" providerId="ADAL" clId="{97B5AACC-9C6C-5E48-9A5A-FA9D13236B34}" dt="2025-03-13T07:35:08.185" v="27"/>
        <pc:sldMkLst>
          <pc:docMk/>
          <pc:sldMk cId="2724267562" sldId="2147482695"/>
        </pc:sldMkLst>
      </pc:sldChg>
      <pc:sldChg chg="add del">
        <pc:chgData name="Thomas Janvier" userId="33deb15f-1470-45e4-9cf7-c3830223dcbb" providerId="ADAL" clId="{97B5AACC-9C6C-5E48-9A5A-FA9D13236B34}" dt="2025-03-13T07:37:39.994" v="125"/>
        <pc:sldMkLst>
          <pc:docMk/>
          <pc:sldMk cId="3136863260" sldId="2147482696"/>
        </pc:sldMkLst>
      </pc:sldChg>
      <pc:sldChg chg="del">
        <pc:chgData name="Thomas Janvier" userId="33deb15f-1470-45e4-9cf7-c3830223dcbb" providerId="ADAL" clId="{97B5AACC-9C6C-5E48-9A5A-FA9D13236B34}" dt="2025-03-13T07:35:30.656" v="31" actId="2696"/>
        <pc:sldMkLst>
          <pc:docMk/>
          <pc:sldMk cId="3845733994" sldId="2147482697"/>
        </pc:sldMkLst>
      </pc:sldChg>
      <pc:sldChg chg="del">
        <pc:chgData name="Thomas Janvier" userId="33deb15f-1470-45e4-9cf7-c3830223dcbb" providerId="ADAL" clId="{97B5AACC-9C6C-5E48-9A5A-FA9D13236B34}" dt="2025-03-13T07:37:02.730" v="122" actId="2696"/>
        <pc:sldMkLst>
          <pc:docMk/>
          <pc:sldMk cId="3872475935" sldId="2147482698"/>
        </pc:sldMkLst>
      </pc:sldChg>
      <pc:sldChg chg="add mod modShow">
        <pc:chgData name="Thomas Janvier" userId="33deb15f-1470-45e4-9cf7-c3830223dcbb" providerId="ADAL" clId="{97B5AACC-9C6C-5E48-9A5A-FA9D13236B34}" dt="2025-03-13T13:24:26.344" v="364" actId="729"/>
        <pc:sldMkLst>
          <pc:docMk/>
          <pc:sldMk cId="11611804" sldId="2147483647"/>
        </pc:sldMkLst>
      </pc:sldChg>
      <pc:sldChg chg="del">
        <pc:chgData name="Thomas Janvier" userId="33deb15f-1470-45e4-9cf7-c3830223dcbb" providerId="ADAL" clId="{97B5AACC-9C6C-5E48-9A5A-FA9D13236B34}" dt="2025-03-13T07:32:42.119" v="3" actId="2696"/>
        <pc:sldMkLst>
          <pc:docMk/>
          <pc:sldMk cId="1079438871" sldId="2147483647"/>
        </pc:sldMkLst>
      </pc:sldChg>
      <pc:sldChg chg="add del">
        <pc:chgData name="Thomas Janvier" userId="33deb15f-1470-45e4-9cf7-c3830223dcbb" providerId="ADAL" clId="{97B5AACC-9C6C-5E48-9A5A-FA9D13236B34}" dt="2025-03-13T07:35:25.408" v="29"/>
        <pc:sldMkLst>
          <pc:docMk/>
          <pc:sldMk cId="1962269076" sldId="2147483647"/>
        </pc:sldMkLst>
      </pc:sldChg>
      <pc:sldMasterChg chg="delSldLayout">
        <pc:chgData name="Thomas Janvier" userId="33deb15f-1470-45e4-9cf7-c3830223dcbb" providerId="ADAL" clId="{97B5AACC-9C6C-5E48-9A5A-FA9D13236B34}" dt="2025-03-13T07:37:02.730" v="122" actId="2696"/>
        <pc:sldMasterMkLst>
          <pc:docMk/>
          <pc:sldMasterMk cId="3751698034" sldId="2147483759"/>
        </pc:sldMasterMkLst>
        <pc:sldLayoutChg chg="del">
          <pc:chgData name="Thomas Janvier" userId="33deb15f-1470-45e4-9cf7-c3830223dcbb" providerId="ADAL" clId="{97B5AACC-9C6C-5E48-9A5A-FA9D13236B34}" dt="2025-03-13T07:37:02.730" v="122" actId="2696"/>
          <pc:sldLayoutMkLst>
            <pc:docMk/>
            <pc:sldMasterMk cId="3751698034" sldId="2147483759"/>
            <pc:sldLayoutMk cId="1051880246" sldId="2147483804"/>
          </pc:sldLayoutMkLst>
        </pc:sldLayoutChg>
      </pc:sldMasterChg>
      <pc:sldMasterChg chg="delSp mod">
        <pc:chgData name="Thomas Janvier" userId="33deb15f-1470-45e4-9cf7-c3830223dcbb" providerId="ADAL" clId="{97B5AACC-9C6C-5E48-9A5A-FA9D13236B34}" dt="2025-03-16T14:18:38.311" v="377" actId="478"/>
        <pc:sldMasterMkLst>
          <pc:docMk/>
          <pc:sldMasterMk cId="1365550126" sldId="2147483928"/>
        </pc:sldMasterMkLst>
      </pc:sldMasterChg>
      <pc:sldMasterChg chg="modSldLayout">
        <pc:chgData name="Thomas Janvier" userId="33deb15f-1470-45e4-9cf7-c3830223dcbb" providerId="ADAL" clId="{97B5AACC-9C6C-5E48-9A5A-FA9D13236B34}" dt="2025-03-16T14:18:09.487" v="373" actId="1076"/>
        <pc:sldMasterMkLst>
          <pc:docMk/>
          <pc:sldMasterMk cId="919929674" sldId="2147483975"/>
        </pc:sldMasterMkLst>
        <pc:sldLayoutChg chg="modSp mod">
          <pc:chgData name="Thomas Janvier" userId="33deb15f-1470-45e4-9cf7-c3830223dcbb" providerId="ADAL" clId="{97B5AACC-9C6C-5E48-9A5A-FA9D13236B34}" dt="2025-03-16T14:18:09.487" v="373" actId="1076"/>
          <pc:sldLayoutMkLst>
            <pc:docMk/>
            <pc:sldMasterMk cId="919929674" sldId="2147483672"/>
            <pc:sldLayoutMk cId="2460694769" sldId="2147483977"/>
          </pc:sldLayoutMkLst>
        </pc:sldLayoutChg>
      </pc:sldMasterChg>
      <pc:sldMasterChg chg="delSldLayout">
        <pc:chgData name="Thomas Janvier" userId="33deb15f-1470-45e4-9cf7-c3830223dcbb" providerId="ADAL" clId="{97B5AACC-9C6C-5E48-9A5A-FA9D13236B34}" dt="2025-03-13T07:34:52.642" v="24" actId="2696"/>
        <pc:sldMasterMkLst>
          <pc:docMk/>
          <pc:sldMasterMk cId="2731106504" sldId="2147484013"/>
        </pc:sldMasterMkLst>
        <pc:sldLayoutChg chg="del">
          <pc:chgData name="Thomas Janvier" userId="33deb15f-1470-45e4-9cf7-c3830223dcbb" providerId="ADAL" clId="{97B5AACC-9C6C-5E48-9A5A-FA9D13236B34}" dt="2025-03-13T07:34:52.642" v="24" actId="2696"/>
          <pc:sldLayoutMkLst>
            <pc:docMk/>
            <pc:sldMasterMk cId="2731106504" sldId="2147484013"/>
            <pc:sldLayoutMk cId="1472400530" sldId="2147483747"/>
          </pc:sldLayoutMkLst>
        </pc:sldLayoutChg>
      </pc:sldMasterChg>
    </pc:docChg>
  </pc:docChgLst>
  <pc:docChgLst>
    <pc:chgData name="Thomas Janvier" userId="33deb15f-1470-45e4-9cf7-c3830223dcbb" providerId="ADAL" clId="{676DAD69-A164-3B4F-8D81-70A406248B68}"/>
    <pc:docChg chg="custSel addSld delSld modSld modSection">
      <pc:chgData name="Thomas Janvier" userId="33deb15f-1470-45e4-9cf7-c3830223dcbb" providerId="ADAL" clId="{676DAD69-A164-3B4F-8D81-70A406248B68}" dt="2025-06-18T09:27:28.527" v="84" actId="2696"/>
      <pc:docMkLst>
        <pc:docMk/>
      </pc:docMkLst>
      <pc:sldChg chg="modNotesTx">
        <pc:chgData name="Thomas Janvier" userId="33deb15f-1470-45e4-9cf7-c3830223dcbb" providerId="ADAL" clId="{676DAD69-A164-3B4F-8D81-70A406248B68}" dt="2025-06-17T12:51:04.464" v="14" actId="20577"/>
        <pc:sldMkLst>
          <pc:docMk/>
          <pc:sldMk cId="1565301832" sldId="257"/>
        </pc:sldMkLst>
      </pc:sldChg>
      <pc:sldChg chg="modSp mod modNotesTx">
        <pc:chgData name="Thomas Janvier" userId="33deb15f-1470-45e4-9cf7-c3830223dcbb" providerId="ADAL" clId="{676DAD69-A164-3B4F-8D81-70A406248B68}" dt="2025-06-17T12:52:45.248" v="69" actId="20577"/>
        <pc:sldMkLst>
          <pc:docMk/>
          <pc:sldMk cId="626688586" sldId="259"/>
        </pc:sldMkLst>
        <pc:spChg chg="mod">
          <ac:chgData name="Thomas Janvier" userId="33deb15f-1470-45e4-9cf7-c3830223dcbb" providerId="ADAL" clId="{676DAD69-A164-3B4F-8D81-70A406248B68}" dt="2025-06-17T12:36:10.295" v="11" actId="20577"/>
          <ac:spMkLst>
            <pc:docMk/>
            <pc:sldMk cId="626688586" sldId="259"/>
            <ac:spMk id="18" creationId="{A0938930-8A32-A6E0-AE9D-CB806C99E3F4}"/>
          </ac:spMkLst>
        </pc:spChg>
      </pc:sldChg>
      <pc:sldChg chg="modNotesTx">
        <pc:chgData name="Thomas Janvier" userId="33deb15f-1470-45e4-9cf7-c3830223dcbb" providerId="ADAL" clId="{676DAD69-A164-3B4F-8D81-70A406248B68}" dt="2025-06-17T12:52:28.640" v="45" actId="20577"/>
        <pc:sldMkLst>
          <pc:docMk/>
          <pc:sldMk cId="3642073742" sldId="261"/>
        </pc:sldMkLst>
      </pc:sldChg>
      <pc:sldChg chg="modNotesTx">
        <pc:chgData name="Thomas Janvier" userId="33deb15f-1470-45e4-9cf7-c3830223dcbb" providerId="ADAL" clId="{676DAD69-A164-3B4F-8D81-70A406248B68}" dt="2025-06-17T12:52:33.323" v="54" actId="20577"/>
        <pc:sldMkLst>
          <pc:docMk/>
          <pc:sldMk cId="3606127218" sldId="262"/>
        </pc:sldMkLst>
      </pc:sldChg>
      <pc:sldChg chg="delSp mod">
        <pc:chgData name="Thomas Janvier" userId="33deb15f-1470-45e4-9cf7-c3830223dcbb" providerId="ADAL" clId="{676DAD69-A164-3B4F-8D81-70A406248B68}" dt="2025-06-17T12:35:58.527" v="9" actId="478"/>
        <pc:sldMkLst>
          <pc:docMk/>
          <pc:sldMk cId="4065483237" sldId="263"/>
        </pc:sldMkLst>
        <pc:spChg chg="del">
          <ac:chgData name="Thomas Janvier" userId="33deb15f-1470-45e4-9cf7-c3830223dcbb" providerId="ADAL" clId="{676DAD69-A164-3B4F-8D81-70A406248B68}" dt="2025-06-17T12:35:58.527" v="9" actId="478"/>
          <ac:spMkLst>
            <pc:docMk/>
            <pc:sldMk cId="4065483237" sldId="263"/>
            <ac:spMk id="6" creationId="{EBF5D4A6-ADAD-69A0-0598-DF1213257569}"/>
          </ac:spMkLst>
        </pc:spChg>
      </pc:sldChg>
      <pc:sldChg chg="delSp mod modNotesTx">
        <pc:chgData name="Thomas Janvier" userId="33deb15f-1470-45e4-9cf7-c3830223dcbb" providerId="ADAL" clId="{676DAD69-A164-3B4F-8D81-70A406248B68}" dt="2025-06-18T09:27:24.031" v="83" actId="478"/>
        <pc:sldMkLst>
          <pc:docMk/>
          <pc:sldMk cId="2227279540" sldId="264"/>
        </pc:sldMkLst>
        <pc:spChg chg="del">
          <ac:chgData name="Thomas Janvier" userId="33deb15f-1470-45e4-9cf7-c3830223dcbb" providerId="ADAL" clId="{676DAD69-A164-3B4F-8D81-70A406248B68}" dt="2025-06-18T09:27:24.031" v="83" actId="478"/>
          <ac:spMkLst>
            <pc:docMk/>
            <pc:sldMk cId="2227279540" sldId="264"/>
            <ac:spMk id="2" creationId="{EC308C05-3B0E-A773-2F25-5ECC9A8F3F6F}"/>
          </ac:spMkLst>
        </pc:spChg>
      </pc:sldChg>
      <pc:sldChg chg="addSp modSp new del mod modShow">
        <pc:chgData name="Thomas Janvier" userId="33deb15f-1470-45e4-9cf7-c3830223dcbb" providerId="ADAL" clId="{676DAD69-A164-3B4F-8D81-70A406248B68}" dt="2025-06-18T09:27:28.527" v="84" actId="2696"/>
        <pc:sldMkLst>
          <pc:docMk/>
          <pc:sldMk cId="3570760574" sldId="265"/>
        </pc:sldMkLst>
        <pc:picChg chg="add mod">
          <ac:chgData name="Thomas Janvier" userId="33deb15f-1470-45e4-9cf7-c3830223dcbb" providerId="ADAL" clId="{676DAD69-A164-3B4F-8D81-70A406248B68}" dt="2025-06-17T12:54:13.246" v="82" actId="1035"/>
          <ac:picMkLst>
            <pc:docMk/>
            <pc:sldMk cId="3570760574" sldId="265"/>
            <ac:picMk id="1026" creationId="{9003231F-EAFE-FC71-4C38-70BD78B8EE79}"/>
          </ac:picMkLst>
        </pc:picChg>
        <pc:picChg chg="add mod">
          <ac:chgData name="Thomas Janvier" userId="33deb15f-1470-45e4-9cf7-c3830223dcbb" providerId="ADAL" clId="{676DAD69-A164-3B4F-8D81-70A406248B68}" dt="2025-06-17T12:54:05.592" v="73" actId="14100"/>
          <ac:picMkLst>
            <pc:docMk/>
            <pc:sldMk cId="3570760574" sldId="265"/>
            <ac:picMk id="1028" creationId="{4F59B9FD-0389-C0A7-B85B-324D828EAEF5}"/>
          </ac:picMkLst>
        </pc:picChg>
      </pc:sldChg>
      <pc:sldChg chg="modNotesTx">
        <pc:chgData name="Thomas Janvier" userId="33deb15f-1470-45e4-9cf7-c3830223dcbb" providerId="ADAL" clId="{676DAD69-A164-3B4F-8D81-70A406248B68}" dt="2025-06-17T12:51:19.816" v="23" actId="20577"/>
        <pc:sldMkLst>
          <pc:docMk/>
          <pc:sldMk cId="2634446920" sldId="266"/>
        </pc:sldMkLst>
      </pc:sldChg>
      <pc:sldChg chg="modNotesTx">
        <pc:chgData name="Thomas Janvier" userId="33deb15f-1470-45e4-9cf7-c3830223dcbb" providerId="ADAL" clId="{676DAD69-A164-3B4F-8D81-70A406248B68}" dt="2025-06-17T12:51:25.292" v="26" actId="20577"/>
        <pc:sldMkLst>
          <pc:docMk/>
          <pc:sldMk cId="0" sldId="277"/>
        </pc:sldMkLst>
      </pc:sldChg>
      <pc:sldChg chg="modNotesTx">
        <pc:chgData name="Thomas Janvier" userId="33deb15f-1470-45e4-9cf7-c3830223dcbb" providerId="ADAL" clId="{676DAD69-A164-3B4F-8D81-70A406248B68}" dt="2025-06-17T12:52:40.009" v="59" actId="20577"/>
        <pc:sldMkLst>
          <pc:docMk/>
          <pc:sldMk cId="3221698417" sldId="279"/>
        </pc:sldMkLst>
      </pc:sldChg>
      <pc:sldChg chg="modNotesTx">
        <pc:chgData name="Thomas Janvier" userId="33deb15f-1470-45e4-9cf7-c3830223dcbb" providerId="ADAL" clId="{676DAD69-A164-3B4F-8D81-70A406248B68}" dt="2025-06-17T12:51:31.676" v="36" actId="20577"/>
        <pc:sldMkLst>
          <pc:docMk/>
          <pc:sldMk cId="89217895" sldId="2147376456"/>
        </pc:sldMkLst>
      </pc:sldChg>
      <pc:sldChg chg="modSp mod modNotesTx">
        <pc:chgData name="Thomas Janvier" userId="33deb15f-1470-45e4-9cf7-c3830223dcbb" providerId="ADAL" clId="{676DAD69-A164-3B4F-8D81-70A406248B68}" dt="2025-06-17T12:51:39.616" v="42" actId="20577"/>
        <pc:sldMkLst>
          <pc:docMk/>
          <pc:sldMk cId="3640455307" sldId="2147376457"/>
        </pc:sldMkLst>
        <pc:spChg chg="mod">
          <ac:chgData name="Thomas Janvier" userId="33deb15f-1470-45e4-9cf7-c3830223dcbb" providerId="ADAL" clId="{676DAD69-A164-3B4F-8D81-70A406248B68}" dt="2025-06-17T12:34:56.111" v="8" actId="1076"/>
          <ac:spMkLst>
            <pc:docMk/>
            <pc:sldMk cId="3640455307" sldId="2147376457"/>
            <ac:spMk id="7" creationId="{F09795C9-874F-CE50-BD9D-8CAC5A5D6B0D}"/>
          </ac:spMkLst>
        </pc:spChg>
      </pc:sldChg>
      <pc:sldChg chg="delSp mod">
        <pc:chgData name="Thomas Janvier" userId="33deb15f-1470-45e4-9cf7-c3830223dcbb" providerId="ADAL" clId="{676DAD69-A164-3B4F-8D81-70A406248B68}" dt="2025-06-17T12:34:34.641" v="7" actId="478"/>
        <pc:sldMkLst>
          <pc:docMk/>
          <pc:sldMk cId="2654212918" sldId="2147472497"/>
        </pc:sldMkLst>
        <pc:spChg chg="del">
          <ac:chgData name="Thomas Janvier" userId="33deb15f-1470-45e4-9cf7-c3830223dcbb" providerId="ADAL" clId="{676DAD69-A164-3B4F-8D81-70A406248B68}" dt="2025-06-17T12:34:34.641" v="7" actId="478"/>
          <ac:spMkLst>
            <pc:docMk/>
            <pc:sldMk cId="2654212918" sldId="2147472497"/>
            <ac:spMk id="3" creationId="{66D4E145-1833-08E1-4F3C-A584D08E2BC8}"/>
          </ac:spMkLst>
        </pc:spChg>
      </pc:sldChg>
      <pc:sldChg chg="modNotesTx">
        <pc:chgData name="Thomas Janvier" userId="33deb15f-1470-45e4-9cf7-c3830223dcbb" providerId="ADAL" clId="{676DAD69-A164-3B4F-8D81-70A406248B68}" dt="2025-06-17T12:51:36.308" v="39" actId="20577"/>
        <pc:sldMkLst>
          <pc:docMk/>
          <pc:sldMk cId="2724267562" sldId="214748269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1B2CA1-78FC-E340-87E5-5A62C1F7F9A1}" type="datetimeFigureOut">
              <a:rPr lang="en-US" smtClean="0"/>
              <a:t>6/1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E90DD4-A64E-6B4C-900A-698FF49DFF1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094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OJ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90DD4-A64E-6B4C-900A-698FF49DFF1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0049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DF964D-8F72-FD6E-5DD9-04BDA0F9BF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BFE8277-C43B-A422-2333-74FB93C87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7145E55-9D55-E938-1C7D-6D4B82865C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A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F3C063-6358-FA6E-59E1-6D70199EB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DF220-6B53-DC49-A5AC-70517C15B3F8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703137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CE3C9-A53F-B9CA-0551-0F8986B4E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5B41DD-8BF4-61A5-C274-B2EA3A182B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9A1C3A-5EC2-EBF7-1D0B-F6BC39E90E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AB</a:t>
            </a:r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DEE7E-0039-656A-036E-5DB3124E68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4CDF1C-F56E-0E40-9A94-3F949B375875}" type="slidenum">
              <a:rPr kumimoji="0" lang="en-DE" sz="12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DE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734241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EB8676-6819-1D3D-2AE5-43C783F6B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1F39BF3-B3A0-DB68-F8DA-19E01168B8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A4E57D5-798C-8CC3-70FB-8E5DC60745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CC43E-8672-1C5C-905D-B892186737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Not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 </a:t>
            </a:r>
            <a:fld id="{E76C657F-0E32-4130-ADDA-66B81138A76A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3668772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D7850-9CB2-126A-1304-7BD6A0668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A8F83F4-79FE-BF04-A290-2F002E7D11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4B75972-1B8E-99D3-EE40-D177EB86EF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EF5D9C-15A8-2837-6DD5-F30E05F07A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Not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 </a:t>
            </a:r>
            <a:fld id="{E76C657F-0E32-4130-ADDA-66B81138A76A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027301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90DD4-A64E-6B4C-900A-698FF49DFF1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5010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90DD4-A64E-6B4C-900A-698FF49DFF1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061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A43CD8-9BD7-DCC7-D3DE-645A706869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31E360-3EEB-A400-2B88-D26BA256C1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84188" y="650875"/>
            <a:ext cx="6350000" cy="35718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9753A6-740B-C31D-B03F-F0F7A08128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lang="en-US" b="0" i="0">
                <a:solidFill>
                  <a:srgbClr val="0D0D0D"/>
                </a:solidFill>
                <a:effectLst/>
                <a:latin typeface="Söhne"/>
              </a:rPr>
              <a:t>The SCM SUS platform was designed </a:t>
            </a:r>
            <a:r>
              <a:rPr lang="en-US" sz="12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enable us to improve the sustainability in the Siemens’ supplier base by triggering &amp; monitoring appropriate measures.</a:t>
            </a:r>
            <a:endParaRPr lang="de-DE" sz="120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AutoNum type="arabicPeriod"/>
              <a:tabLst/>
              <a:defRPr/>
            </a:pPr>
            <a:r>
              <a:rPr lang="de-DE" sz="12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re you can f</a:t>
            </a:r>
            <a:r>
              <a:rPr lang="de-DE"/>
              <a:t>ind all </a:t>
            </a:r>
            <a:r>
              <a:rPr lang="en-US" sz="1200">
                <a:solidFill>
                  <a:srgbClr val="F3F3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stainability information for my suppliers in one place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AutoNum type="arabicPeriod"/>
              <a:tabLst/>
              <a:defRPr/>
            </a:pPr>
            <a:r>
              <a:rPr lang="en-US" sz="1200">
                <a:solidFill>
                  <a:srgbClr val="F3F3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user can compare suppliers based on their sustainability performance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AutoNum type="arabicPeriod"/>
              <a:tabLst/>
              <a:defRPr/>
            </a:pPr>
            <a:r>
              <a:rPr lang="en-US" sz="1200">
                <a:solidFill>
                  <a:srgbClr val="F3F3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stainability processes </a:t>
            </a:r>
            <a:r>
              <a:rPr lang="de-DE" sz="1200">
                <a:solidFill>
                  <a:srgbClr val="F3F3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 </a:t>
            </a:r>
            <a:r>
              <a:rPr lang="en-US" sz="1200">
                <a:solidFill>
                  <a:srgbClr val="F3F3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itor measures can be triggered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AutoNum type="arabicPeriod"/>
              <a:tabLst/>
              <a:defRPr/>
            </a:pPr>
            <a:r>
              <a:rPr lang="en-US" sz="1200">
                <a:solidFill>
                  <a:srgbClr val="F3F3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can drive sustainability strategies and supplier programs as the user gets a good understanding on the sustainability performance of their supplier bas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•"/>
              <a:tabLst/>
              <a:defRPr/>
            </a:pPr>
            <a:endParaRPr lang="en-US" sz="1200">
              <a:solidFill>
                <a:srgbClr val="F3F3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FFD099-AD04-FAA8-07E1-BD97EFFC5F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Helvetica Neue"/>
              </a:rPr>
              <a:t>Not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Helvetica Neue"/>
              </a:rPr>
              <a:t> </a:t>
            </a:r>
            <a:fld id="{E76C657F-0E32-4130-ADDA-66B81138A7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Aptos" panose="0211000402020202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6755441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1926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>
                <a:solidFill>
                  <a:schemeClr val="tx1"/>
                </a:solidFill>
                <a:latin typeface="Aeonik" panose="020B0503030300000000" pitchFamily="34" charset="0"/>
              </a:rPr>
              <a:t>TOJ </a:t>
            </a:r>
          </a:p>
          <a:p>
            <a:r>
              <a:rPr lang="en-US" sz="1200" b="0" i="0">
                <a:solidFill>
                  <a:schemeClr val="tx1"/>
                </a:solidFill>
                <a:latin typeface="Aeonik" panose="020B0503030300000000" pitchFamily="34" charset="0"/>
              </a:rPr>
              <a:t>tier</a:t>
            </a:r>
            <a:r>
              <a:rPr lang="en-US" sz="1200">
                <a:solidFill>
                  <a:schemeClr val="tx1"/>
                </a:solidFill>
                <a:latin typeface="Aeonik" panose="020B0503030300000000" pitchFamily="34" charset="0"/>
              </a:rPr>
              <a:t>-N, quantity-based calculations, assuranc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90DD4-A64E-6B4C-900A-698FF49DFF1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881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90DD4-A64E-6B4C-900A-698FF49DFF1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07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rtl="0" eaLnBrk="1" fontAlgn="ctr" latinLnBrk="0" hangingPunct="1"/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TOJ</a:t>
            </a:r>
          </a:p>
          <a:p>
            <a:pPr marL="0" marR="0" indent="0" algn="l" rtl="0" eaLnBrk="1" fontAlgn="ctr" latinLnBrk="0" hangingPunct="1"/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Talking points: </a:t>
            </a:r>
          </a:p>
          <a:p>
            <a:pPr marL="0" marR="0" indent="0" algn="l" rtl="0" eaLnBrk="1" fontAlgn="ctr" latinLnBrk="0" hangingPunct="1"/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- Many large companies are dissatisfied with their Scope 3 data: their spend-based calculations use off-the-shelf, “one-size-fits-all” emission factors; the primary data collected from suppliers is inconsistent; PCF’s are hard to get and expensive to generate.</a:t>
            </a:r>
          </a:p>
          <a:p>
            <a:pPr marL="0" marR="0" indent="0" algn="l" rtl="0" eaLnBrk="1" fontAlgn="ctr" latinLnBrk="0" hangingPunct="1"/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- Not so with Siemens. For their Scope 3 data, they have struck the right balance between breadth and depth, and their solution enables them to drive a fact-based decarbonization strategy which relies on consistent, comparable data. In today’s session, </a:t>
            </a:r>
            <a:r>
              <a:rPr lang="en-US" sz="1800" b="0" i="0" u="none" strike="noStrike" spc="0" baseline="0" err="1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Tjeerd</a:t>
            </a:r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en-US" sz="1800" b="0" i="0" u="none" strike="noStrike" spc="0" baseline="0" err="1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Doevendans</a:t>
            </a:r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, team lead for sustainable procurement programs &amp; projects at Siemens, will tell you how they partnered with us, </a:t>
            </a:r>
            <a:r>
              <a:rPr lang="en-US" sz="1800" b="0" i="0" u="none" strike="noStrike" spc="0" baseline="0" err="1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ctrl+s</a:t>
            </a:r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, to move beyond “analysis paralysis” towards real climate action. </a:t>
            </a:r>
          </a:p>
          <a:p>
            <a:pPr marL="0" marR="0" indent="0" algn="l" rtl="0" eaLnBrk="1" fontAlgn="ctr" latinLnBrk="0" hangingPunct="1"/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- But first, a few words about </a:t>
            </a:r>
            <a:r>
              <a:rPr lang="en-US" sz="1800" b="0" i="0" u="none" strike="noStrike" spc="0" baseline="0" err="1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ctrl+s</a:t>
            </a:r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… (next slide) </a:t>
            </a:r>
          </a:p>
          <a:p>
            <a:pPr marL="0" marR="0" indent="0" algn="l" rtl="0" eaLnBrk="1" fontAlgn="ctr" latinLnBrk="0" hangingPunct="1"/>
            <a:endParaRPr lang="en-US" sz="1800" b="0" i="0" u="none" strike="noStrike" spc="0" baseline="0">
              <a:solidFill>
                <a:srgbClr val="000000"/>
              </a:solidFill>
              <a:effectLst/>
              <a:latin typeface="Aeonik" panose="020B0503030300000000" pitchFamily="34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0" marR="0" indent="0" algn="l" rtl="0" eaLnBrk="1" fontAlgn="ctr" latinLnBrk="0" hangingPunct="1"/>
            <a:endParaRPr lang="en-US" sz="1800" b="0" i="0" u="none" strike="noStrike" spc="0" baseline="0">
              <a:solidFill>
                <a:srgbClr val="000000"/>
              </a:solidFill>
              <a:effectLst/>
              <a:latin typeface="Aeonik" panose="020B0503030300000000" pitchFamily="34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0" marR="0" indent="0" algn="l" rtl="0" eaLnBrk="1" fontAlgn="ctr" latinLnBrk="0" hangingPunct="1"/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Introduce Siemens, clarify that </a:t>
            </a:r>
            <a:r>
              <a:rPr lang="en-US" sz="1800" b="0" i="0" u="none" strike="noStrike" spc="0" baseline="0" err="1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ctrl+s</a:t>
            </a:r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 solutions go beyond what is presented (e.g. resource use)</a:t>
            </a:r>
            <a:endParaRPr lang="en-US" sz="1800" b="0" i="0" u="none" strike="noStrike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ctr" latinLnBrk="0" hangingPunct="1"/>
            <a:r>
              <a:rPr lang="en-US" sz="1800" b="0" i="0" u="none" strike="noStrike" spc="0" baseline="0">
                <a:solidFill>
                  <a:srgbClr val="000000"/>
                </a:solidFill>
                <a:effectLst/>
                <a:latin typeface="Aeonik" panose="020B0503030300000000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« hook » : why today’s pitch matters to the audience</a:t>
            </a:r>
          </a:p>
          <a:p>
            <a:pPr marL="0" marR="0" indent="0" algn="l" rtl="0" eaLnBrk="1" fontAlgn="ctr" latinLnBrk="0" hangingPunct="1"/>
            <a:r>
              <a:rPr lang="en-US" sz="2800"/>
              <a:t>Your CFO and CSO walk into a meeting… One wants cost savings, the other wants carbon savings. What if you could deliver both?</a:t>
            </a:r>
            <a:endParaRPr lang="en-US" sz="1800" b="0" i="0" u="none" strike="noStrike" spc="0" baseline="0">
              <a:solidFill>
                <a:srgbClr val="000000"/>
              </a:solidFill>
              <a:effectLst/>
              <a:latin typeface="Aeonik" panose="020B0503030300000000" pitchFamily="34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0" marR="0" indent="0" algn="l" rtl="0" eaLnBrk="1" fontAlgn="ctr" latinLnBrk="0" hangingPunct="1"/>
            <a:r>
              <a:rPr lang="en-US" sz="2800"/>
              <a:t>The EU's Carbon Border Tax is here. Are you tracking your supply chain’s emissions, or are you waiting for regulators to do it for you?</a:t>
            </a:r>
            <a:endParaRPr lang="en-US" sz="1800" b="0" i="0" u="none" strike="noStrike" spc="0" baseline="0">
              <a:solidFill>
                <a:srgbClr val="000000"/>
              </a:solidFill>
              <a:effectLst/>
              <a:latin typeface="Aeonik" panose="020B0503030300000000" pitchFamily="34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0" marR="0" indent="0" algn="l" rtl="0" eaLnBrk="1" fontAlgn="ctr" latinLnBrk="0" hangingPunct="1"/>
            <a:r>
              <a:rPr lang="en-US" sz="2800"/>
              <a:t>80% of your emissions come from your supply chain, but you control 100% of the procurement decisions.</a:t>
            </a:r>
          </a:p>
          <a:p>
            <a:pPr marL="0" marR="0" indent="0" algn="l" rtl="0" eaLnBrk="1" fontAlgn="ctr" latinLnBrk="0" hangingPunct="1"/>
            <a:r>
              <a:rPr lang="en-US" sz="2800"/>
              <a:t>Procurement controls supplier relationships. So why let bad data control your decarbonization strategy?</a:t>
            </a:r>
          </a:p>
          <a:p>
            <a:pPr marL="0" marR="0" indent="0" algn="l" rtl="0" eaLnBrk="1" fontAlgn="ctr" latinLnBrk="0" hangingPunct="1"/>
            <a:endParaRPr lang="en-US" sz="1800" b="0" i="0" u="none" strike="noStrike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ctr" latinLnBrk="0" hangingPunct="1"/>
            <a:r>
              <a:rPr lang="en-US" sz="1800" b="0" i="0" u="none" strike="noStrike">
                <a:effectLst/>
                <a:latin typeface="Arial" panose="020B0604020202020204" pitchFamily="34" charset="0"/>
              </a:rPr>
              <a:t>Tina will open to comments from the audienc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E90DD4-A64E-6B4C-900A-698FF49DFF1F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Helvetica Neue"/>
              </a:rPr>
              <a:pPr marL="0" marR="0" lvl="0" indent="0" algn="r" defTabSz="48764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ptos" panose="0211000402020202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183360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56B959-6A64-4173-0146-A6CAE098F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5BD15E-151F-A76F-A04C-633CC0FAB8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61FB4F-6825-BD56-9DC8-7D2D898A3C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AB</a:t>
            </a:r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328997-A367-ABA4-B651-60E7A142F1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4CDF1C-F56E-0E40-9A94-3F949B375875}" type="slidenum">
              <a:rPr kumimoji="0" lang="en-DE" sz="12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DE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456365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14510D-1734-E0D6-3ADB-56886BF1B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92BCC22-019A-1419-688E-CA2D8852D4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F5FEAA2-978C-1481-895F-7FF2841C30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AFF29-E24D-83B3-1202-3A481D9625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Not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 </a:t>
            </a:r>
            <a:fld id="{E76C657F-0E32-4130-ADDA-66B81138A76A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3218920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7A7B7-66B4-95E9-C62A-0A4B2C2B5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D97A679-F6A6-D991-C1EA-10B7951093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8325FFA-7885-823C-5530-59A976A55E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EA81A9-5C75-98D9-EF75-969EB550A2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Not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 </a:t>
            </a:r>
            <a:fld id="{E76C657F-0E32-4130-ADDA-66B81138A76A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9291739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CEB419-ABB9-FF75-33BE-AE7F43809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9654490-3D94-830D-7298-6339527F1F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AEA74F4-3462-B0D0-A455-F632AD6590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0C2214-A8B2-B260-E4F9-344A8234DC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Not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 </a:t>
            </a:r>
            <a:fld id="{E76C657F-0E32-4130-ADDA-66B81138A76A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8128819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E6A664-BCA7-86D5-ED54-86AB86C347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0BD526E-C63A-E5C5-9149-1A2F777D6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3D7DC62-8119-65C5-E022-5D1527087C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Talking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points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: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describe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the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type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of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data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sources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used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in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each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step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(Bureau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of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Economic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 Analysis, USEEIO, BACI </a:t>
            </a:r>
            <a:r>
              <a:rPr lang="de-DE" b="0" i="1" err="1">
                <a:solidFill>
                  <a:srgbClr val="242424"/>
                </a:solidFill>
                <a:effectLst/>
                <a:latin typeface="-apple-system"/>
              </a:rPr>
              <a:t>etc</a:t>
            </a:r>
            <a:r>
              <a:rPr lang="de-DE" b="0" i="1">
                <a:solidFill>
                  <a:srgbClr val="242424"/>
                </a:solidFill>
                <a:effectLst/>
                <a:latin typeface="-apple-system"/>
              </a:rPr>
              <a:t>) </a:t>
            </a:r>
          </a:p>
          <a:p>
            <a:endParaRPr lang="de-DE" b="0" i="0">
              <a:solidFill>
                <a:srgbClr val="242424"/>
              </a:solidFill>
              <a:effectLst/>
              <a:latin typeface="-apple-system"/>
            </a:endParaRPr>
          </a:p>
          <a:p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BACI (Base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pour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l’Analyse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 du Commerce International)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E14574-62CC-8020-2716-8222D03334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DF220-6B53-DC49-A5AC-70517C15B3F8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46326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9C6973-383D-B362-86F4-0F4683343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F60BEE2-A046-B1A0-255A-7398DB739A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3E9C048-584C-88C8-2408-AFFA04D41C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TOJ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Talking points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 u="none" strike="noStrike" err="1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ctrl+s</a:t>
            </a: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 empowers businesses to take control of their supply chain emissions and of </a:t>
            </a:r>
            <a:r>
              <a:rPr lang="en-US">
                <a:solidFill>
                  <a:srgbClr val="141413"/>
                </a:solidFill>
                <a:effectLst/>
                <a:latin typeface="Aeonik" panose="020B0503030300000000" pitchFamily="34" charset="0"/>
              </a:rPr>
              <a:t>broader CSRD impacts, such as critical raw materials use, water or waste</a:t>
            </a: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Trusted by 40+ industry leaders—including Siemens, Bayer, and Bosch—our data products turn carbon management into measurable action. Through our global platform, we drive emissions reductions across </a:t>
            </a:r>
            <a:r>
              <a:rPr lang="en-US" b="1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10,000+ suppliers</a:t>
            </a: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 in </a:t>
            </a:r>
            <a:r>
              <a:rPr lang="en-US" b="1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200+ countries </a:t>
            </a: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and embed sustainability deep into complex value chain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Over to </a:t>
            </a:r>
            <a:r>
              <a:rPr lang="en-US" b="0" i="0" u="none" strike="noStrike" err="1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Tjeerd</a:t>
            </a:r>
            <a:r>
              <a:rPr lang="en-US" b="0" i="0" u="none" strike="noStrike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, who will tell you more about Siemens’ use case. </a:t>
            </a:r>
          </a:p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012684-B0FE-E8F9-88F7-7D9BE344AE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4CDF1C-F56E-0E40-9A94-3F949B375875}" type="slidenum">
              <a:rPr kumimoji="0" lang="en-DE" sz="12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DE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522287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termediate target -20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90DD4-A64E-6B4C-900A-698FF49DFF1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867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7675" y="635000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Siemens Sans" panose="020B0604020202020204" pitchFamily="34" charset="0"/>
              <a:buNone/>
            </a:pPr>
            <a:endParaRPr lang="en-US"/>
          </a:p>
          <a:p>
            <a:pPr marL="0" indent="0">
              <a:buFont typeface="Siemens Sans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19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Siemens Sans" pitchFamily="2" charset="0"/>
                <a:ea typeface="+mn-ea"/>
                <a:cs typeface="+mn-cs"/>
              </a:rPr>
              <a:t>Not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emens Sans" pitchFamily="2" charset="0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emens Sans" pitchFamily="2" charset="0"/>
                <a:ea typeface="+mn-ea"/>
                <a:cs typeface="+mn-cs"/>
              </a:rPr>
              <a:pPr marL="0" marR="0" lvl="0" indent="0" algn="r" defTabSz="9419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emens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9794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47638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Reduce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Notes </a:t>
            </a:r>
            <a:fld id="{AD141568-5488-4AC9-B82D-9F5CE1225E2A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2541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E90DD4-A64E-6B4C-900A-698FF49DFF1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5915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19A10-4CA7-81C0-6327-5A1BC6398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8D0473-6CA7-6236-C298-DC194E423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A20FDB-A09E-E7CF-496D-564C14C8DE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AB</a:t>
            </a:r>
          </a:p>
          <a:p>
            <a:r>
              <a:rPr lang="de-DE" err="1"/>
              <a:t>How</a:t>
            </a:r>
            <a:r>
              <a:rPr lang="de-DE"/>
              <a:t> do </a:t>
            </a:r>
            <a:r>
              <a:rPr lang="de-DE" err="1"/>
              <a:t>we</a:t>
            </a:r>
            <a:r>
              <a:rPr lang="de-DE"/>
              <a:t> deal </a:t>
            </a:r>
            <a:r>
              <a:rPr lang="de-DE" err="1"/>
              <a:t>with</a:t>
            </a:r>
            <a:r>
              <a:rPr lang="de-DE"/>
              <a:t> supplier </a:t>
            </a:r>
            <a:r>
              <a:rPr lang="de-DE" err="1"/>
              <a:t>specifities</a:t>
            </a:r>
            <a:r>
              <a:rPr lang="de-DE"/>
              <a:t>? </a:t>
            </a:r>
          </a:p>
          <a:p>
            <a:r>
              <a:rPr lang="de-DE" err="1"/>
              <a:t>How</a:t>
            </a:r>
            <a:r>
              <a:rPr lang="de-DE"/>
              <a:t> </a:t>
            </a:r>
            <a:r>
              <a:rPr lang="de-DE" err="1"/>
              <a:t>about</a:t>
            </a:r>
            <a:r>
              <a:rPr lang="de-DE"/>
              <a:t> </a:t>
            </a:r>
            <a:r>
              <a:rPr lang="de-DE" err="1"/>
              <a:t>lead</a:t>
            </a:r>
            <a:r>
              <a:rPr lang="de-DE"/>
              <a:t> </a:t>
            </a:r>
            <a:r>
              <a:rPr lang="de-DE" err="1"/>
              <a:t>firms</a:t>
            </a:r>
            <a:r>
              <a:rPr lang="de-DE"/>
              <a:t> </a:t>
            </a:r>
            <a:r>
              <a:rPr lang="de-DE" err="1"/>
              <a:t>who</a:t>
            </a:r>
            <a:r>
              <a:rPr lang="de-DE"/>
              <a:t>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collected</a:t>
            </a:r>
            <a:r>
              <a:rPr lang="de-DE"/>
              <a:t> </a:t>
            </a:r>
            <a:r>
              <a:rPr lang="de-DE" err="1"/>
              <a:t>quantity-based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, </a:t>
            </a:r>
            <a:r>
              <a:rPr lang="de-DE" err="1"/>
              <a:t>isn‘t</a:t>
            </a:r>
            <a:r>
              <a:rPr lang="de-DE"/>
              <a:t> </a:t>
            </a:r>
            <a:r>
              <a:rPr lang="de-DE" err="1"/>
              <a:t>spend-based</a:t>
            </a:r>
            <a:r>
              <a:rPr lang="de-DE"/>
              <a:t> a </a:t>
            </a:r>
            <a:r>
              <a:rPr lang="de-DE" err="1"/>
              <a:t>step</a:t>
            </a:r>
            <a:r>
              <a:rPr lang="de-DE"/>
              <a:t> back? 1)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integrate</a:t>
            </a:r>
            <a:r>
              <a:rPr lang="de-DE"/>
              <a:t> </a:t>
            </a:r>
            <a:r>
              <a:rPr lang="de-DE" err="1"/>
              <a:t>quantity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2) </a:t>
            </a:r>
            <a:r>
              <a:rPr lang="de-DE" err="1"/>
              <a:t>quantity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difficul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obtain</a:t>
            </a:r>
            <a:r>
              <a:rPr lang="de-DE"/>
              <a:t> and will </a:t>
            </a:r>
            <a:r>
              <a:rPr lang="de-DE" err="1"/>
              <a:t>never</a:t>
            </a:r>
            <a:r>
              <a:rPr lang="de-DE"/>
              <a:t> </a:t>
            </a:r>
            <a:r>
              <a:rPr lang="de-DE" err="1"/>
              <a:t>cover</a:t>
            </a:r>
            <a:r>
              <a:rPr lang="de-DE"/>
              <a:t> 100%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buy</a:t>
            </a:r>
            <a:r>
              <a:rPr lang="de-DE"/>
              <a:t>. </a:t>
            </a:r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687C78-BBB9-BE62-6635-441B0260E9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4CDF1C-F56E-0E40-9A94-3F949B375875}" type="slidenum">
              <a:rPr kumimoji="0" lang="en-DE" sz="12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DE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55989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sv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.xml"/><Relationship Id="rId4" Type="http://schemas.openxmlformats.org/officeDocument/2006/relationships/image" Target="../media/image4.sv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1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4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4" Type="http://schemas.openxmlformats.org/officeDocument/2006/relationships/image" Target="../media/image4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7091" y="1380119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7" y="1161172"/>
            <a:ext cx="13439471" cy="1770472"/>
          </a:xfrm>
        </p:spPr>
        <p:txBody>
          <a:bodyPr anchor="t">
            <a:noAutofit/>
          </a:bodyPr>
          <a:lstStyle>
            <a:lvl1pPr marL="0" indent="0" algn="l" fontAlgn="ctr">
              <a:lnSpc>
                <a:spcPct val="100000"/>
              </a:lnSpc>
              <a:spcBef>
                <a:spcPts val="0"/>
              </a:spcBef>
              <a:buNone/>
              <a:defRPr sz="10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10"/>
            <a:ext cx="7757351" cy="671776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5FFC80DA-6208-FFE6-1AFE-28F7768B385E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20A8B43A-09D3-C8B9-4066-81CDAC2C473C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791782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line and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8"/>
            <a:ext cx="21746883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2"/>
            <a:ext cx="10370117" cy="91779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9" y="3165502"/>
            <a:ext cx="10370115" cy="91779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1" name="Abgerundetes Rechteck">
            <a:extLst>
              <a:ext uri="{FF2B5EF4-FFF2-40B4-BE49-F238E27FC236}">
                <a16:creationId xmlns:a16="http://schemas.microsoft.com/office/drawing/2014/main" id="{C8CD356E-7818-6E32-3E78-0CA9CF7E6E6D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62D4CFF4-5791-50BF-D8ED-818DD782E0FC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778316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820747" y="957600"/>
            <a:ext cx="19726516" cy="115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822273" y="2828927"/>
            <a:ext cx="14397685" cy="9502774"/>
          </a:xfrm>
        </p:spPr>
        <p:txBody>
          <a:bodyPr/>
          <a:lstStyle>
            <a:lvl1pPr defTabSz="719964">
              <a:spcAft>
                <a:spcPts val="1800"/>
              </a:spcAft>
              <a:tabLst>
                <a:tab pos="14399280" algn="r"/>
              </a:tabLst>
              <a:defRPr/>
            </a:lvl1pPr>
            <a:lvl2pPr defTabSz="719964">
              <a:spcAft>
                <a:spcPts val="1800"/>
              </a:spcAft>
              <a:tabLst>
                <a:tab pos="14399280" algn="r"/>
              </a:tabLst>
              <a:defRPr/>
            </a:lvl2pPr>
            <a:lvl3pPr marL="359982" defTabSz="719964">
              <a:spcAft>
                <a:spcPts val="1800"/>
              </a:spcAft>
              <a:tabLst>
                <a:tab pos="14399280" algn="r"/>
              </a:tabLst>
              <a:defRPr b="1"/>
            </a:lvl3pPr>
            <a:lvl4pPr marL="719964" defTabSz="719964">
              <a:spcAft>
                <a:spcPts val="1800"/>
              </a:spcAft>
              <a:tabLst>
                <a:tab pos="14399280" algn="r"/>
              </a:tabLst>
              <a:defRPr/>
            </a:lvl4pPr>
            <a:lvl5pPr marL="719964" defTabSz="719964">
              <a:spcAft>
                <a:spcPts val="1800"/>
              </a:spcAft>
              <a:tabLst>
                <a:tab pos="14399280" algn="r"/>
              </a:tabLst>
              <a:defRPr b="1"/>
            </a:lvl5pPr>
            <a:lvl6pPr marL="359982" defTabSz="719964">
              <a:spcAft>
                <a:spcPts val="1200"/>
              </a:spcAft>
              <a:tabLst>
                <a:tab pos="14399280" algn="r"/>
              </a:tabLst>
              <a:defRPr sz="3200"/>
            </a:lvl6pPr>
            <a:lvl7pPr marL="359982" defTabSz="719964">
              <a:spcAft>
                <a:spcPts val="1200"/>
              </a:spcAft>
              <a:tabLst>
                <a:tab pos="14399280" algn="r"/>
              </a:tabLst>
              <a:defRPr sz="3200" b="1"/>
            </a:lvl7pPr>
            <a:lvl8pPr marL="719964" defTabSz="719964">
              <a:spcAft>
                <a:spcPts val="1200"/>
              </a:spcAft>
              <a:tabLst>
                <a:tab pos="14399280" algn="r"/>
              </a:tabLst>
              <a:defRPr sz="3200"/>
            </a:lvl8pPr>
            <a:lvl9pPr marL="719964" defTabSz="719964">
              <a:spcAft>
                <a:spcPts val="1200"/>
              </a:spcAft>
              <a:tabLst>
                <a:tab pos="14399280" algn="r"/>
              </a:tabLst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97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820747" y="957600"/>
            <a:ext cx="19726516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822272" y="2828927"/>
            <a:ext cx="11807056" cy="9502774"/>
          </a:xfrm>
        </p:spPr>
        <p:txBody>
          <a:bodyPr/>
          <a:lstStyle>
            <a:lvl1pPr>
              <a:spcAft>
                <a:spcPts val="1800"/>
              </a:spcAft>
              <a:tabLst>
                <a:tab pos="11804060" algn="r"/>
              </a:tabLst>
              <a:defRPr/>
            </a:lvl1pPr>
            <a:lvl2pPr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/>
            </a:lvl2pPr>
            <a:lvl3pPr marL="359982"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 b="1"/>
            </a:lvl3pPr>
            <a:lvl4pPr marL="719964"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/>
            </a:lvl4pPr>
            <a:lvl5pPr marL="719964"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 b="1"/>
            </a:lvl5pPr>
            <a:lvl6pPr marL="359982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/>
            </a:lvl6pPr>
            <a:lvl7pPr marL="359982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 b="1"/>
            </a:lvl7pPr>
            <a:lvl8pPr marL="719964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/>
            </a:lvl8pPr>
            <a:lvl9pPr marL="719964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13486522" y="2828927"/>
            <a:ext cx="10086320" cy="9502774"/>
          </a:xfrm>
        </p:spPr>
        <p:txBody>
          <a:bodyPr/>
          <a:lstStyle>
            <a:lvl1pPr>
              <a:spcAft>
                <a:spcPts val="1800"/>
              </a:spcAft>
              <a:tabLst>
                <a:tab pos="10079496" algn="r"/>
              </a:tabLst>
              <a:defRPr/>
            </a:lvl1pPr>
            <a:lvl2pPr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/>
            </a:lvl2pPr>
            <a:lvl3pPr marL="359982"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 b="1"/>
            </a:lvl3pPr>
            <a:lvl4pPr marL="719964"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/>
            </a:lvl4pPr>
            <a:lvl5pPr marL="719964"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 b="1"/>
            </a:lvl5pPr>
            <a:lvl6pPr marL="359982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/>
            </a:lvl6pPr>
            <a:lvl7pPr marL="359982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 b="1"/>
            </a:lvl7pPr>
            <a:lvl8pPr marL="719964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/>
            </a:lvl8pPr>
            <a:lvl9pPr marL="719964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033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56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24382413" cy="12334876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044667" y="2108200"/>
            <a:ext cx="18502796" cy="2954656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10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24382413" cy="12334876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044667" y="2108200"/>
            <a:ext cx="18502796" cy="2954656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911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2"/>
            <a:ext cx="15221329" cy="12334876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044668" y="2108200"/>
            <a:ext cx="12311749" cy="2954656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16083753" y="2108200"/>
            <a:ext cx="7487513" cy="10226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44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3100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2828927"/>
            <a:ext cx="24382413" cy="10887074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374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929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822271" y="2829600"/>
            <a:ext cx="14397689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277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line, sub-heading,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8"/>
            <a:ext cx="21746883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4949688"/>
            <a:ext cx="10370117" cy="7393716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9" y="4949686"/>
            <a:ext cx="10370115" cy="7393716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A226D27D-B069-A2D3-0346-886BDEB33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7540" y="3234528"/>
            <a:ext cx="10370117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FF3979DD-A4A8-FCA7-0F1B-174F1CDE5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94758" y="3234526"/>
            <a:ext cx="10370117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11" name="Abgerundetes Rechteck">
            <a:extLst>
              <a:ext uri="{FF2B5EF4-FFF2-40B4-BE49-F238E27FC236}">
                <a16:creationId xmlns:a16="http://schemas.microsoft.com/office/drawing/2014/main" id="{466F99F3-566A-0DA1-0034-0BF0A4FBEFF6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D428758F-F89E-FE28-0E1E-8DC99D3179BA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049230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822271" y="2829600"/>
            <a:ext cx="2275057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00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822270" y="2829600"/>
            <a:ext cx="10940340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12629329" y="2829600"/>
            <a:ext cx="10930815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42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822271" y="2829600"/>
            <a:ext cx="719953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596241" y="2829600"/>
            <a:ext cx="719953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16371735" y="2829600"/>
            <a:ext cx="719953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6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822270" y="2829600"/>
            <a:ext cx="10940340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22270" y="7437600"/>
            <a:ext cx="10940340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12629329" y="2829600"/>
            <a:ext cx="10930815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12629329" y="7437600"/>
            <a:ext cx="10930815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97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822269" y="2829600"/>
            <a:ext cx="14397689" cy="9504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16085331" y="2829600"/>
            <a:ext cx="7487513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11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809571" y="2828922"/>
            <a:ext cx="22750571" cy="8784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1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822271" y="2828924"/>
            <a:ext cx="7199531" cy="8784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8597793" y="2828924"/>
            <a:ext cx="7199531" cy="8784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16373312" y="2828924"/>
            <a:ext cx="7199531" cy="8784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602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8" y="-1080000"/>
            <a:ext cx="19726710" cy="72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044667" y="3405598"/>
            <a:ext cx="18502796" cy="8208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9600" b="0">
                <a:solidFill>
                  <a:schemeClr val="tx1"/>
                </a:solidFill>
              </a:defRPr>
            </a:lvl1pPr>
            <a:lvl2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/>
            </a:lvl2pPr>
            <a:lvl3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2116663" y="1533526"/>
            <a:ext cx="1815664" cy="12954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60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23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271" y="-1080000"/>
            <a:ext cx="19724992" cy="72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044667" y="3405598"/>
            <a:ext cx="18504316" cy="8208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9600" b="0">
                <a:solidFill>
                  <a:schemeClr val="tx2"/>
                </a:solidFill>
              </a:defRPr>
            </a:lvl1pPr>
            <a:lvl2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2pPr>
            <a:lvl3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2116663" y="1533526"/>
            <a:ext cx="1815664" cy="12954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60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89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1972672" y="2541598"/>
            <a:ext cx="21598594" cy="907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15999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627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lin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1168348"/>
            <a:ext cx="21798919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8" name="Abgerundetes Rechteck">
            <a:extLst>
              <a:ext uri="{FF2B5EF4-FFF2-40B4-BE49-F238E27FC236}">
                <a16:creationId xmlns:a16="http://schemas.microsoft.com/office/drawing/2014/main" id="{9DF522B4-7629-32CF-26B2-F675A83043D2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1A44B78A-F978-E67E-CD0B-ECDC9DFA2829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682067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1972672" y="2543076"/>
            <a:ext cx="21598594" cy="907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15999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19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116662" y="2469601"/>
            <a:ext cx="18430800" cy="2325046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15999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2116662" y="4794649"/>
            <a:ext cx="18430800" cy="6819502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</a:defRPr>
            </a:lvl2pPr>
            <a:lvl3pPr marL="287986" indent="-287986" algn="l">
              <a:spcAft>
                <a:spcPts val="0"/>
              </a:spcAft>
              <a:buFont typeface="Arial" panose="020B0604020202020204" pitchFamily="34" charset="0"/>
              <a:buChar char="•"/>
              <a:defRPr sz="2800" b="0"/>
            </a:lvl3pPr>
            <a:lvl4pPr marL="0" indent="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/>
            </a:lvl4pPr>
            <a:lvl5pPr marL="287986" indent="-287986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chemeClr val="tx1"/>
                </a:solidFill>
              </a:defRPr>
            </a:lvl5pPr>
            <a:lvl6pPr marL="719964" indent="-359982" algn="l">
              <a:spcAft>
                <a:spcPts val="0"/>
              </a:spcAft>
              <a:buFont typeface="Arial" panose="020B0604020202020204" pitchFamily="34" charset="0"/>
              <a:buChar char="•"/>
              <a:defRPr sz="2800"/>
            </a:lvl6pPr>
            <a:lvl7pPr marL="719964" indent="-359982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/>
            </a:lvl7pPr>
            <a:lvl8pPr marL="1079946" indent="-359982" algn="l">
              <a:spcAft>
                <a:spcPts val="0"/>
              </a:spcAft>
              <a:buFont typeface="Arial" panose="020B0604020202020204" pitchFamily="34" charset="0"/>
              <a:buChar char="•"/>
              <a:defRPr sz="2800"/>
            </a:lvl8pPr>
            <a:lvl9pPr marL="1079946" indent="-359982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579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95E4AD68-F4DD-8E0D-85E5-DA8B52D751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1759187" cy="13716000"/>
          </a:xfrm>
          <a:prstGeom prst="rect">
            <a:avLst/>
          </a:prstGeom>
          <a:solidFill>
            <a:schemeClr val="accent1"/>
          </a:solidFill>
          <a:effectLst/>
        </p:spPr>
        <p:txBody>
          <a:bodyPr lIns="144000" tIns="108000" rIns="144000" bIns="864000" anchor="ctr"/>
          <a:lstStyle>
            <a:lvl1pPr algn="ctr">
              <a:defRPr sz="3200">
                <a:solidFill>
                  <a:schemeClr val="bg1"/>
                </a:solidFill>
                <a:latin typeface="Siemens Sans" panose="02020500000000000000" pitchFamily="18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D38FE3-B664-6A13-D9AF-B28C9E801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0116000"/>
            <a:ext cx="11759187" cy="3600000"/>
          </a:xfrm>
          <a:gradFill>
            <a:gsLst>
              <a:gs pos="100000">
                <a:schemeClr val="accent6">
                  <a:alpha val="67000"/>
                </a:schemeClr>
              </a:gs>
              <a:gs pos="0">
                <a:srgbClr val="000028">
                  <a:alpha val="0"/>
                </a:srgbClr>
              </a:gs>
            </a:gsLst>
            <a:lin ang="5400000" scaled="1"/>
          </a:gradFill>
        </p:spPr>
        <p:txBody>
          <a:bodyPr vert="horz" wrap="none" lIns="406800" tIns="396000" rIns="288000" bIns="720000" rtlCol="0">
            <a:noAutofit/>
          </a:bodyPr>
          <a:lstStyle>
            <a:lvl1pPr>
              <a:defRPr lang="en-US" sz="2400" b="0" dirty="0">
                <a:latin typeface="Siemens Sans Black" panose="02020A00000000000000" pitchFamily="18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</a:pPr>
            <a:r>
              <a:rPr lang="en-US"/>
              <a:t> 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533F950-961D-34AB-9E96-6C9F76A0FF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23226" y="954608"/>
            <a:ext cx="10943288" cy="113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cap="all" baseline="0">
                <a:solidFill>
                  <a:srgbClr val="00C1B6"/>
                </a:solidFill>
                <a:latin typeface="Siemens Sans Black" panose="02020A00000000000000" pitchFamily="18" charset="0"/>
              </a:defRPr>
            </a:lvl1pPr>
            <a:lvl2pPr marL="0" indent="0">
              <a:spcAft>
                <a:spcPts val="2400"/>
              </a:spcAft>
              <a:buClr>
                <a:srgbClr val="00FFB9"/>
              </a:buClr>
              <a:buNone/>
              <a:defRPr sz="4000" b="0">
                <a:solidFill>
                  <a:schemeClr val="tx1"/>
                </a:solidFill>
                <a:latin typeface="Siemens Sans" panose="02020500000000000000" pitchFamily="18" charset="0"/>
              </a:defRPr>
            </a:lvl2pPr>
            <a:lvl3pPr marL="0" indent="0">
              <a:spcBef>
                <a:spcPts val="2400"/>
              </a:spcBef>
              <a:buClr>
                <a:srgbClr val="00FFB9"/>
              </a:buClr>
              <a:buNone/>
              <a:defRPr sz="3200">
                <a:solidFill>
                  <a:srgbClr val="00C1B6"/>
                </a:solidFill>
                <a:latin typeface="Siemens Sans Black" panose="02020A00000000000000" pitchFamily="18" charset="0"/>
              </a:defRPr>
            </a:lvl3pPr>
            <a:lvl4pPr marL="0" indent="0">
              <a:buClr>
                <a:srgbClr val="00FFB9"/>
              </a:buClr>
              <a:buNone/>
              <a:defRPr sz="2400">
                <a:solidFill>
                  <a:schemeClr val="tx1"/>
                </a:solidFill>
                <a:latin typeface="Siemens Sans" panose="02020500000000000000" pitchFamily="18" charset="0"/>
              </a:defRPr>
            </a:lvl4pPr>
            <a:lvl5pPr marL="287986" indent="-287986">
              <a:buClr>
                <a:srgbClr val="00C1B6"/>
              </a:buClr>
              <a:defRPr sz="2400">
                <a:solidFill>
                  <a:schemeClr val="tx1"/>
                </a:solidFill>
                <a:latin typeface="Siemens Sans" panose="02020500000000000000" pitchFamily="18" charset="0"/>
              </a:defRPr>
            </a:lvl5pPr>
            <a:lvl6pPr marL="575971" indent="-287986">
              <a:buClr>
                <a:srgbClr val="00C1B6"/>
              </a:buClr>
              <a:defRPr sz="2400">
                <a:latin typeface="Siemens Sans" panose="02020500000000000000" pitchFamily="18" charset="0"/>
              </a:defRPr>
            </a:lvl6pPr>
          </a:lstStyle>
          <a:p>
            <a:pPr lvl="0"/>
            <a:r>
              <a:rPr lang="en-US"/>
              <a:t>Topline</a:t>
            </a:r>
          </a:p>
          <a:p>
            <a:pPr lvl="1"/>
            <a:r>
              <a:rPr lang="en-US"/>
              <a:t>Headline</a:t>
            </a:r>
          </a:p>
          <a:p>
            <a:pPr lvl="2"/>
            <a:r>
              <a:rPr lang="en-US"/>
              <a:t>Subhead</a:t>
            </a:r>
          </a:p>
          <a:p>
            <a:pPr lvl="3"/>
            <a:r>
              <a:rPr lang="en-US"/>
              <a:t>Copy</a:t>
            </a:r>
          </a:p>
          <a:p>
            <a:pPr lvl="4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43F768F-7663-FC15-9542-6203D715EB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11759187" cy="1496230"/>
          </a:xfrm>
          <a:prstGeom prst="rect">
            <a:avLst/>
          </a:prstGeom>
          <a:gradFill>
            <a:gsLst>
              <a:gs pos="0">
                <a:schemeClr val="accent6">
                  <a:alpha val="67000"/>
                </a:schemeClr>
              </a:gs>
              <a:gs pos="100000">
                <a:srgbClr val="000028">
                  <a:alpha val="0"/>
                </a:srgbClr>
              </a:gs>
            </a:gsLst>
            <a:lin ang="5400000" scaled="1"/>
          </a:gradFill>
        </p:spPr>
        <p:txBody>
          <a:bodyPr lIns="406800" tIns="396000" rIns="288000" bIns="72000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tx1"/>
                </a:solidFill>
                <a:latin typeface="Siemens Sans Black" panose="02020A00000000000000" pitchFamily="18" charset="0"/>
              </a:defRPr>
            </a:lvl1pPr>
            <a:lvl2pPr>
              <a:defRPr sz="7200" b="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 Black" panose="02020A00000000000000" pitchFamily="18" charset="0"/>
              </a:defRPr>
            </a:lvl2pPr>
            <a:lvl3pPr>
              <a:defRPr sz="7200" b="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 Black" panose="02020A00000000000000" pitchFamily="18" charset="0"/>
              </a:defRPr>
            </a:lvl3pPr>
            <a:lvl4pPr>
              <a:defRPr sz="7200" b="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 Black" panose="02020A00000000000000" pitchFamily="18" charset="0"/>
              </a:defRPr>
            </a:lvl4pPr>
            <a:lvl5pPr>
              <a:defRPr sz="7200" b="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 Black" panose="02020A00000000000000" pitchFamily="18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3" name="Siemens Logo" descr="Siemens logo">
            <a:extLst>
              <a:ext uri="{FF2B5EF4-FFF2-40B4-BE49-F238E27FC236}">
                <a16:creationId xmlns:a16="http://schemas.microsoft.com/office/drawing/2014/main" id="{8F485714-DC7B-8F75-328A-50C0F44E4B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1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C5193606-F6DD-C89D-F78C-8BF26DDD57F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2" y="12621600"/>
            <a:ext cx="18430800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E3C55706-289D-35F3-A432-25953892E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>
          <a:xfrm>
            <a:off x="822270" y="12621600"/>
            <a:ext cx="1295916" cy="1094400"/>
          </a:xfrm>
        </p:spPr>
        <p:txBody>
          <a:bodyPr/>
          <a:lstStyle/>
          <a:p>
            <a:r>
              <a:rPr lang="en-US">
                <a:latin typeface="Siemens Sans" panose="02020500000000000000" pitchFamily="18" charset="0"/>
              </a:rPr>
              <a:t>Page </a:t>
            </a:r>
            <a:fld id="{15EBE321-CBB1-4E91-BD14-37C8D44326FB}" type="slidenum">
              <a:rPr lang="en-US" smtClean="0">
                <a:latin typeface="Siemens Sans" panose="02020500000000000000" pitchFamily="18" charset="0"/>
              </a:rPr>
              <a:pPr/>
              <a:t>‹Nr.›</a:t>
            </a:fld>
            <a:endParaRPr lang="en-US">
              <a:latin typeface="Siemens Sans" panose="02020500000000000000" pitchFamily="18" charset="0"/>
            </a:endParaRP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8DA4B212-F7D2-EEB9-762E-5BFBB07713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051" y="11250608"/>
            <a:ext cx="3311784" cy="1080000"/>
          </a:xfrm>
          <a:prstGeom prst="rect">
            <a:avLst/>
          </a:prstGeom>
          <a:solidFill>
            <a:srgbClr val="333353">
              <a:alpha val="75000"/>
            </a:srgbClr>
          </a:solidFill>
        </p:spPr>
        <p:txBody>
          <a:bodyPr lIns="144000" tIns="108000" rIns="144000" bIns="144000"/>
          <a:lstStyle>
            <a:lvl1pPr>
              <a:lnSpc>
                <a:spcPct val="100000"/>
              </a:lnSpc>
              <a:spcAft>
                <a:spcPts val="0"/>
              </a:spcAft>
              <a:defRPr sz="2200" b="1">
                <a:solidFill>
                  <a:schemeClr val="tx1"/>
                </a:solidFill>
                <a:latin typeface="Siemens Sans Black" panose="02020A00000000000000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ClrTx/>
              <a:buNone/>
              <a:defRPr sz="4000" b="1">
                <a:solidFill>
                  <a:schemeClr val="tx1"/>
                </a:solidFill>
                <a:latin typeface="Siemens Sans Black" panose="02020A00000000000000" pitchFamily="18" charset="0"/>
              </a:defRPr>
            </a:lvl2pPr>
            <a:lvl3pPr marL="359982" indent="0">
              <a:buClrTx/>
              <a:buNone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3pPr>
            <a:lvl4pPr>
              <a:buClrTx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4pPr>
            <a:lvl5pPr>
              <a:buClrTx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5pPr>
          </a:lstStyle>
          <a:p>
            <a:pPr lvl="0"/>
            <a:endParaRPr lang="de-DE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4B52497-97ED-6558-06B5-AB7F7EB668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70842" y="11250608"/>
            <a:ext cx="3311784" cy="1080000"/>
          </a:xfrm>
          <a:prstGeom prst="rect">
            <a:avLst/>
          </a:prstGeom>
          <a:solidFill>
            <a:srgbClr val="333353">
              <a:alpha val="75000"/>
            </a:srgbClr>
          </a:solidFill>
        </p:spPr>
        <p:txBody>
          <a:bodyPr lIns="144000" tIns="108000" rIns="144000" bIns="144000"/>
          <a:lstStyle>
            <a:lvl1pPr>
              <a:lnSpc>
                <a:spcPct val="100000"/>
              </a:lnSpc>
              <a:spcAft>
                <a:spcPts val="0"/>
              </a:spcAft>
              <a:defRPr sz="2200" b="1">
                <a:solidFill>
                  <a:schemeClr val="tx1"/>
                </a:solidFill>
                <a:latin typeface="Siemens Sans Black" panose="02020A00000000000000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ClrTx/>
              <a:buNone/>
              <a:defRPr sz="4000" b="1">
                <a:solidFill>
                  <a:schemeClr val="tx1"/>
                </a:solidFill>
                <a:latin typeface="Siemens Sans Black" panose="02020A00000000000000" pitchFamily="18" charset="0"/>
              </a:defRPr>
            </a:lvl2pPr>
            <a:lvl3pPr marL="359982" indent="0">
              <a:buClrTx/>
              <a:buNone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3pPr>
            <a:lvl4pPr>
              <a:buClrTx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4pPr>
            <a:lvl5pPr>
              <a:buClrTx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5pPr>
          </a:lstStyle>
          <a:p>
            <a:pPr lvl="0"/>
            <a:endParaRPr lang="de-DE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648FC308-94A7-D52B-056A-674D50EAAAE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727001" y="11250608"/>
            <a:ext cx="3311784" cy="1080000"/>
          </a:xfrm>
          <a:prstGeom prst="rect">
            <a:avLst/>
          </a:prstGeom>
          <a:solidFill>
            <a:srgbClr val="333353">
              <a:alpha val="75000"/>
            </a:srgbClr>
          </a:solidFill>
        </p:spPr>
        <p:txBody>
          <a:bodyPr lIns="144000" tIns="108000" rIns="144000" bIns="144000"/>
          <a:lstStyle>
            <a:lvl1pPr>
              <a:lnSpc>
                <a:spcPct val="100000"/>
              </a:lnSpc>
              <a:spcAft>
                <a:spcPts val="0"/>
              </a:spcAft>
              <a:defRPr sz="2200" b="1">
                <a:solidFill>
                  <a:schemeClr val="tx1"/>
                </a:solidFill>
                <a:latin typeface="Siemens Sans Black" panose="02020A00000000000000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ClrTx/>
              <a:buNone/>
              <a:defRPr sz="4000" b="1">
                <a:solidFill>
                  <a:schemeClr val="tx1"/>
                </a:solidFill>
                <a:latin typeface="Siemens Sans Black" panose="02020A00000000000000" pitchFamily="18" charset="0"/>
              </a:defRPr>
            </a:lvl2pPr>
            <a:lvl3pPr marL="359982" indent="0">
              <a:buClrTx/>
              <a:buNone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3pPr>
            <a:lvl4pPr>
              <a:buClrTx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4pPr>
            <a:lvl5pPr>
              <a:buClrTx/>
              <a:defRPr sz="2800" b="0">
                <a:solidFill>
                  <a:schemeClr val="tx1"/>
                </a:solidFill>
                <a:latin typeface="Siemens Sans Black" panose="02020A00000000000000" pitchFamily="18" charset="0"/>
              </a:defRPr>
            </a:lvl5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7893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518621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10713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255846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20352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596934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6695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628340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line, w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1168348"/>
            <a:ext cx="21798919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8A3E033D-78FC-3AAC-A32E-FC4176E840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1" y="3165502"/>
            <a:ext cx="21798919" cy="905962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2437972" rtl="0" eaLnBrk="1" fontAlgn="auto" latinLnBrk="0" hangingPunct="1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D9E6E0BD-AE99-7E21-256E-4EDC2A932281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07122A56-55D6-190F-BB63-F82687640FD3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704968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22528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579830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950790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935231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269853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498444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597626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036448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351220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066644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ing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1168348"/>
            <a:ext cx="21798919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0CC57B-3501-9B43-3F34-43C8F80217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17541" y="2941638"/>
            <a:ext cx="21852104" cy="88661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</a:t>
            </a:r>
            <a:r>
              <a:rPr lang="en-DE"/>
              <a:t>dd image by clicking on icon</a:t>
            </a:r>
          </a:p>
          <a:p>
            <a:endParaRPr lang="en-DE"/>
          </a:p>
        </p:txBody>
      </p:sp>
      <p:sp>
        <p:nvSpPr>
          <p:cNvPr id="7" name="Abgerundetes Rechteck">
            <a:extLst>
              <a:ext uri="{FF2B5EF4-FFF2-40B4-BE49-F238E27FC236}">
                <a16:creationId xmlns:a16="http://schemas.microsoft.com/office/drawing/2014/main" id="{A446684C-FAC0-30BC-672E-3316E47984EC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4A2723CF-DD1C-07BE-C808-5F98E3298039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472668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25233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550272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79640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621584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909302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531156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860105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514917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741656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7121030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only image/table/chart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54021DC1-8FC4-0B7A-BD65-1505B237B0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351997" y="1490733"/>
            <a:ext cx="21678423" cy="107345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DE"/>
              <a:t>Add image, table, chart, smart media, etc. by clicking on icons </a:t>
            </a:r>
          </a:p>
        </p:txBody>
      </p:sp>
      <p:sp>
        <p:nvSpPr>
          <p:cNvPr id="12" name="Abgerundetes Rechteck">
            <a:extLst>
              <a:ext uri="{FF2B5EF4-FFF2-40B4-BE49-F238E27FC236}">
                <a16:creationId xmlns:a16="http://schemas.microsoft.com/office/drawing/2014/main" id="{BD5828B2-A89C-852C-2C7C-548322A38CD7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B9216A20-CBE4-337E-4317-B62CAF9D0B49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300662"/>
      </p:ext>
    </p:extLst>
  </p:cSld>
  <p:clrMapOvr>
    <a:masterClrMapping/>
  </p:clrMapOvr>
  <p:transition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133329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42329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103181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95465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512000"/>
            <a:ext cx="18574791" cy="1822876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6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367362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462212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022212"/>
            <a:ext cx="18574791" cy="2312664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513808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1"/>
            <a:ext cx="18574067" cy="332398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36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883985"/>
            <a:ext cx="18574791" cy="1450890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28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36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851268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004051"/>
            <a:ext cx="24382413" cy="671195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95465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512000"/>
            <a:ext cx="18574791" cy="1822876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6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235342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004051"/>
            <a:ext cx="24382413" cy="671195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462212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022212"/>
            <a:ext cx="18574791" cy="2312664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565229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004051"/>
            <a:ext cx="24382413" cy="671195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1"/>
            <a:ext cx="18574067" cy="332398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36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883985"/>
            <a:ext cx="18574791" cy="1450890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28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36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49266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95465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512000"/>
            <a:ext cx="18574791" cy="1822876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600">
                <a:solidFill>
                  <a:schemeClr val="tx2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018277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38" y="-4521200"/>
            <a:ext cx="30463887" cy="21275628"/>
          </a:xfrm>
          <a:prstGeom prst="rect">
            <a:avLst/>
          </a:prstGeom>
        </p:spPr>
      </p:pic>
      <p:sp>
        <p:nvSpPr>
          <p:cNvPr id="14" name="Abgerundetes Rechteck">
            <a:extLst>
              <a:ext uri="{FF2B5EF4-FFF2-40B4-BE49-F238E27FC236}">
                <a16:creationId xmlns:a16="http://schemas.microsoft.com/office/drawing/2014/main" id="{3461A918-5002-37D7-7A3B-645EB7531841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B01F8512-C480-D69A-9664-BC25E50006D0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524825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462212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4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022212"/>
            <a:ext cx="18574791" cy="2312664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434091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1"/>
            <a:ext cx="18574067" cy="332398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72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mit</a:t>
            </a:r>
            <a:r>
              <a:rPr lang="en-US" noProof="0"/>
              <a:t> Bild, </a:t>
            </a:r>
            <a:br>
              <a:rPr lang="en-US" noProof="0"/>
            </a:br>
            <a:r>
              <a:rPr lang="en-US" noProof="0"/>
              <a:t>Arial Regular, 36 pt,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883985"/>
            <a:ext cx="18574791" cy="1450890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2800">
                <a:solidFill>
                  <a:schemeClr val="tx2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28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Titel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36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bild</a:t>
            </a:r>
            <a:endParaRPr lang="en-US" noProof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357327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4924426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80 pt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7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9503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5539978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4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17713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5"/>
            <a:ext cx="18574791" cy="386024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2" y="12621600"/>
            <a:ext cx="17277355" cy="10944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10890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24382413" cy="123336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4924426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80 pt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7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32362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24382413" cy="123336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5539978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4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97505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24382413" cy="123336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2828927"/>
            <a:ext cx="24382413" cy="9504674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5"/>
            <a:ext cx="18574791" cy="386024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2" y="12621600"/>
            <a:ext cx="17277355" cy="1094400"/>
          </a:xfrm>
        </p:spPr>
        <p:txBody>
          <a:bodyPr/>
          <a:lstStyle/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40116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4924426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80 pt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479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8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97367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5539978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60 pt</a:t>
            </a:r>
            <a:br>
              <a:rPr lang="en-US" noProof="0"/>
            </a:br>
            <a:r>
              <a:rPr lang="en-US" noProof="0"/>
              <a:t>3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3"/>
            <a:ext cx="18574791" cy="3245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6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64724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38" y="-4538132"/>
            <a:ext cx="30463887" cy="212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729382"/>
      </p:ext>
    </p:extLst>
  </p:cSld>
  <p:clrMapOvr>
    <a:masterClrMapping/>
  </p:clrMapOvr>
  <p:transition spd="med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6" y="2828927"/>
            <a:ext cx="22739394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apiteltrenner</a:t>
            </a:r>
            <a:r>
              <a:rPr lang="en-US" noProof="0"/>
              <a:t>, </a:t>
            </a:r>
            <a:br>
              <a:rPr lang="en-US" noProof="0"/>
            </a:br>
            <a:r>
              <a:rPr lang="en-US" noProof="0"/>
              <a:t>Arial Regular, 40 pt, </a:t>
            </a:r>
            <a:br>
              <a:rPr lang="en-US" noProof="0"/>
            </a:br>
            <a:r>
              <a:rPr lang="en-US" noProof="0"/>
              <a:t>extra </a:t>
            </a:r>
            <a:r>
              <a:rPr lang="en-US" noProof="0" err="1"/>
              <a:t>lange</a:t>
            </a:r>
            <a:r>
              <a:rPr lang="en-US" noProof="0"/>
              <a:t> </a:t>
            </a:r>
            <a:r>
              <a:rPr lang="en-US" noProof="0" err="1"/>
              <a:t>Überschriften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4 </a:t>
            </a:r>
            <a:r>
              <a:rPr lang="en-US" noProof="0" err="1"/>
              <a:t>Zeilen</a:t>
            </a:r>
            <a:endParaRPr lang="en-US" noProof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 noProof="0"/>
              <a:t>Subhead für </a:t>
            </a:r>
            <a:r>
              <a:rPr lang="en-US" noProof="0" err="1"/>
              <a:t>Kapiteltrenner</a:t>
            </a:r>
            <a:r>
              <a:rPr lang="en-US" noProof="0"/>
              <a:t> der </a:t>
            </a:r>
            <a:r>
              <a:rPr lang="en-US" noProof="0" err="1"/>
              <a:t>Größe</a:t>
            </a:r>
            <a:r>
              <a:rPr lang="en-US" noProof="0"/>
              <a:t> 40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2" y="12621600"/>
            <a:ext cx="17277355" cy="109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4901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957600"/>
            <a:ext cx="19726516" cy="1152000"/>
          </a:xfrm>
        </p:spPr>
        <p:txBody>
          <a:bodyPr/>
          <a:lstStyle/>
          <a:p>
            <a:r>
              <a:rPr lang="en-US" noProof="0" err="1"/>
              <a:t>Inhaltsverzeichnis</a:t>
            </a:r>
            <a:endParaRPr lang="en-US" noProof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22273" y="2828927"/>
            <a:ext cx="14397685" cy="9502774"/>
          </a:xfrm>
        </p:spPr>
        <p:txBody>
          <a:bodyPr/>
          <a:lstStyle>
            <a:lvl1pPr defTabSz="719964">
              <a:spcAft>
                <a:spcPts val="1800"/>
              </a:spcAft>
              <a:tabLst>
                <a:tab pos="14399280" algn="r"/>
              </a:tabLst>
              <a:defRPr/>
            </a:lvl1pPr>
            <a:lvl2pPr defTabSz="719964">
              <a:spcAft>
                <a:spcPts val="1800"/>
              </a:spcAft>
              <a:tabLst>
                <a:tab pos="14399280" algn="r"/>
              </a:tabLst>
              <a:defRPr/>
            </a:lvl2pPr>
            <a:lvl3pPr marL="359982" defTabSz="719964">
              <a:spcAft>
                <a:spcPts val="1800"/>
              </a:spcAft>
              <a:tabLst>
                <a:tab pos="14399280" algn="r"/>
              </a:tabLst>
              <a:defRPr b="1"/>
            </a:lvl3pPr>
            <a:lvl4pPr marL="719964" defTabSz="719964">
              <a:spcAft>
                <a:spcPts val="1800"/>
              </a:spcAft>
              <a:tabLst>
                <a:tab pos="14399280" algn="r"/>
              </a:tabLst>
              <a:defRPr/>
            </a:lvl4pPr>
            <a:lvl5pPr marL="719964" defTabSz="719964">
              <a:spcAft>
                <a:spcPts val="1800"/>
              </a:spcAft>
              <a:tabLst>
                <a:tab pos="14399280" algn="r"/>
              </a:tabLst>
              <a:defRPr b="1"/>
            </a:lvl5pPr>
            <a:lvl6pPr marL="359982" defTabSz="719964">
              <a:spcAft>
                <a:spcPts val="1200"/>
              </a:spcAft>
              <a:tabLst>
                <a:tab pos="14399280" algn="r"/>
              </a:tabLst>
              <a:defRPr sz="3200"/>
            </a:lvl6pPr>
            <a:lvl7pPr marL="359982" defTabSz="719964">
              <a:spcAft>
                <a:spcPts val="1200"/>
              </a:spcAft>
              <a:tabLst>
                <a:tab pos="14399280" algn="r"/>
              </a:tabLst>
              <a:defRPr sz="3200" b="1"/>
            </a:lvl7pPr>
            <a:lvl8pPr marL="719964" defTabSz="719964">
              <a:spcAft>
                <a:spcPts val="1200"/>
              </a:spcAft>
              <a:tabLst>
                <a:tab pos="14399280" algn="r"/>
              </a:tabLst>
              <a:defRPr sz="3200"/>
            </a:lvl8pPr>
            <a:lvl9pPr marL="719964" defTabSz="719964">
              <a:spcAft>
                <a:spcPts val="1200"/>
              </a:spcAft>
              <a:tabLst>
                <a:tab pos="14399280" algn="r"/>
              </a:tabLst>
              <a:defRPr sz="3200" b="1"/>
            </a:lvl9pPr>
          </a:lstStyle>
          <a:p>
            <a:pPr lvl="0"/>
            <a:r>
              <a:rPr lang="en-US" noProof="0" err="1"/>
              <a:t>Inhaltsverzeichni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817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957600"/>
            <a:ext cx="19726516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Inhaltsverzeichnis</a:t>
            </a:r>
            <a:endParaRPr lang="en-US" noProof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22272" y="2828927"/>
            <a:ext cx="11807056" cy="9502774"/>
          </a:xfrm>
        </p:spPr>
        <p:txBody>
          <a:bodyPr/>
          <a:lstStyle>
            <a:lvl1pPr>
              <a:spcAft>
                <a:spcPts val="1800"/>
              </a:spcAft>
              <a:tabLst>
                <a:tab pos="11804060" algn="r"/>
              </a:tabLst>
              <a:defRPr/>
            </a:lvl1pPr>
            <a:lvl2pPr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/>
            </a:lvl2pPr>
            <a:lvl3pPr marL="359982"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 b="1"/>
            </a:lvl3pPr>
            <a:lvl4pPr marL="719964"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/>
            </a:lvl4pPr>
            <a:lvl5pPr marL="719964">
              <a:spcAft>
                <a:spcPts val="1800"/>
              </a:spcAft>
              <a:buClr>
                <a:schemeClr val="tx1"/>
              </a:buClr>
              <a:tabLst>
                <a:tab pos="11804060" algn="r"/>
              </a:tabLst>
              <a:defRPr b="1"/>
            </a:lvl5pPr>
            <a:lvl6pPr marL="359982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/>
            </a:lvl6pPr>
            <a:lvl7pPr marL="359982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 b="1"/>
            </a:lvl7pPr>
            <a:lvl8pPr marL="719964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/>
            </a:lvl8pPr>
            <a:lvl9pPr marL="719964">
              <a:spcAft>
                <a:spcPts val="1200"/>
              </a:spcAft>
              <a:buClr>
                <a:schemeClr val="tx1"/>
              </a:buClr>
              <a:tabLst>
                <a:tab pos="11804060" algn="r"/>
              </a:tabLst>
              <a:defRPr sz="3200" b="1"/>
            </a:lvl9pPr>
          </a:lstStyle>
          <a:p>
            <a:pPr lvl="0"/>
            <a:r>
              <a:rPr lang="en-US" noProof="0" err="1"/>
              <a:t>Inhaltsverzeichni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3486522" y="2828927"/>
            <a:ext cx="10086320" cy="9502774"/>
          </a:xfrm>
        </p:spPr>
        <p:txBody>
          <a:bodyPr/>
          <a:lstStyle>
            <a:lvl1pPr>
              <a:spcAft>
                <a:spcPts val="1800"/>
              </a:spcAft>
              <a:tabLst>
                <a:tab pos="10079496" algn="r"/>
              </a:tabLst>
              <a:defRPr/>
            </a:lvl1pPr>
            <a:lvl2pPr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/>
            </a:lvl2pPr>
            <a:lvl3pPr marL="359982"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 b="1"/>
            </a:lvl3pPr>
            <a:lvl4pPr marL="719964"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/>
            </a:lvl4pPr>
            <a:lvl5pPr marL="719964">
              <a:spcAft>
                <a:spcPts val="1800"/>
              </a:spcAft>
              <a:buClr>
                <a:schemeClr val="tx1"/>
              </a:buClr>
              <a:tabLst>
                <a:tab pos="10079496" algn="r"/>
              </a:tabLst>
              <a:defRPr b="1"/>
            </a:lvl5pPr>
            <a:lvl6pPr marL="359982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/>
            </a:lvl6pPr>
            <a:lvl7pPr marL="359982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 b="1"/>
            </a:lvl7pPr>
            <a:lvl8pPr marL="719964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/>
            </a:lvl8pPr>
            <a:lvl9pPr marL="719964">
              <a:spcAft>
                <a:spcPts val="1200"/>
              </a:spcAft>
              <a:buClr>
                <a:schemeClr val="tx1"/>
              </a:buClr>
              <a:tabLst>
                <a:tab pos="10079496" algn="r"/>
              </a:tabLst>
              <a:defRPr sz="3200" b="1"/>
            </a:lvl9pPr>
          </a:lstStyle>
          <a:p>
            <a:pPr lvl="0"/>
            <a:r>
              <a:rPr lang="en-US" noProof="0" err="1"/>
              <a:t>Inhaltsverzeichni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9549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46572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2"/>
            <a:ext cx="24382413" cy="12334876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Formatfüllendes</a:t>
            </a:r>
            <a:r>
              <a:rPr lang="en-US" noProof="0"/>
              <a:t> Bild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044667" y="2108200"/>
            <a:ext cx="18502796" cy="2954656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Inhaltsseite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81812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2"/>
            <a:ext cx="24382413" cy="12334876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Formatfüllendes</a:t>
            </a:r>
            <a:r>
              <a:rPr lang="en-US" noProof="0"/>
              <a:t> Bild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044667" y="2108200"/>
            <a:ext cx="18502796" cy="2954656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Inhaltsseite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7993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2"/>
            <a:ext cx="15221329" cy="12334876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hematisches</a:t>
            </a:r>
            <a:r>
              <a:rPr lang="en-US" noProof="0"/>
              <a:t> Bild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044668" y="2108200"/>
            <a:ext cx="12311749" cy="2954656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Inhaltsseite</a:t>
            </a:r>
            <a:r>
              <a:rPr lang="en-US" noProof="0"/>
              <a:t>,</a:t>
            </a:r>
            <a:br>
              <a:rPr lang="en-US" noProof="0"/>
            </a:br>
            <a:r>
              <a:rPr lang="en-US" noProof="0"/>
              <a:t>Arial Regular, 48 p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16083753" y="2108200"/>
            <a:ext cx="7487513" cy="10226676"/>
          </a:xfrm>
        </p:spPr>
        <p:txBody>
          <a:bodyPr/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5414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8074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2828927"/>
            <a:ext cx="24382413" cy="10887074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 noProof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1419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6776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hank+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6" y="12626356"/>
            <a:ext cx="633263" cy="333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sz="1500" baseline="0">
                <a:solidFill>
                  <a:srgbClr val="3C6DF6"/>
                </a:solidFill>
              </a:rPr>
              <a:t>‹Nr.›</a:t>
            </a:fld>
            <a:endParaRPr sz="1500" baseline="0">
              <a:solidFill>
                <a:srgbClr val="3C6DF6"/>
              </a:solidFill>
            </a:endParaRPr>
          </a:p>
        </p:txBody>
      </p:sp>
      <p:sp>
        <p:nvSpPr>
          <p:cNvPr id="8" name="ctrl+s GmbH   ◾   Lohmühlenstr. 65   ◾   12435 Berlin   ◾   Germany   ◾   +49 175 717 00 62   ◾   info@ctrl-s.io…">
            <a:extLst>
              <a:ext uri="{FF2B5EF4-FFF2-40B4-BE49-F238E27FC236}">
                <a16:creationId xmlns:a16="http://schemas.microsoft.com/office/drawing/2014/main" id="{800F3C8E-F73D-BD2C-1BD2-B4FB80C793C2}"/>
              </a:ext>
            </a:extLst>
          </p:cNvPr>
          <p:cNvSpPr txBox="1"/>
          <p:nvPr/>
        </p:nvSpPr>
        <p:spPr>
          <a:xfrm>
            <a:off x="42330" y="12643668"/>
            <a:ext cx="24382415" cy="914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/>
          <a:lstStyle/>
          <a:p>
            <a:pPr marL="0" indent="0" defTabSz="457131">
              <a:lnSpc>
                <a:spcPct val="120000"/>
              </a:lnSpc>
              <a:buFont typeface="Arial" panose="020B0604020202020204" pitchFamily="34" charset="0"/>
              <a:buNone/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ctrl+s</a:t>
            </a:r>
            <a:r>
              <a:rPr sz="1800"/>
              <a:t> GmbH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Lohmühlenstr</a:t>
            </a:r>
            <a:r>
              <a:rPr sz="1800"/>
              <a:t>. 65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12435 Berlin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Germany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+49 </a:t>
            </a:r>
            <a:r>
              <a:rPr lang="de-DE" sz="1800"/>
              <a:t>30 2060 8611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info@ctrl-s.io</a:t>
            </a:r>
            <a:r>
              <a:rPr lang="de-DE" sz="1800"/>
              <a:t> </a:t>
            </a:r>
            <a:r>
              <a:rPr lang="de-DE" sz="2400"/>
              <a:t> </a:t>
            </a:r>
            <a:r>
              <a:rPr lang="de-DE" sz="1000" baseline="37500"/>
              <a:t>◾</a:t>
            </a:r>
            <a:r>
              <a:rPr lang="de-DE" sz="1000" baseline="20000"/>
              <a:t> </a:t>
            </a:r>
            <a:r>
              <a:rPr lang="de-DE" sz="2400" baseline="20000"/>
              <a:t>   </a:t>
            </a:r>
            <a:r>
              <a:rPr lang="de-DE" sz="1800" err="1"/>
              <a:t>www.ctrl-s.io</a:t>
            </a:r>
            <a:endParaRPr lang="de-DE" sz="1800"/>
          </a:p>
          <a:p>
            <a:pPr defTabSz="457131">
              <a:lnSpc>
                <a:spcPct val="120000"/>
              </a:lnSpc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Handelsregister</a:t>
            </a:r>
            <a:r>
              <a:rPr sz="1800"/>
              <a:t>: </a:t>
            </a:r>
            <a:r>
              <a:rPr sz="1800" err="1"/>
              <a:t>Amtsgericht</a:t>
            </a:r>
            <a:r>
              <a:rPr sz="1800"/>
              <a:t> Charlottenburg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HRB 238515 B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Geschäftsführung</a:t>
            </a:r>
            <a:r>
              <a:rPr sz="1800"/>
              <a:t>: Dr. Moritz </a:t>
            </a:r>
            <a:r>
              <a:rPr sz="1800" err="1"/>
              <a:t>Nill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Marcel </a:t>
            </a:r>
            <a:r>
              <a:rPr sz="1800" err="1"/>
              <a:t>Severith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Johannes Scholz</a:t>
            </a:r>
          </a:p>
        </p:txBody>
      </p:sp>
      <p:sp>
        <p:nvSpPr>
          <p:cNvPr id="10" name="thank+s">
            <a:extLst>
              <a:ext uri="{FF2B5EF4-FFF2-40B4-BE49-F238E27FC236}">
                <a16:creationId xmlns:a16="http://schemas.microsoft.com/office/drawing/2014/main" id="{9BB52C7B-8376-9DF8-C316-613FB0F0E3EB}"/>
              </a:ext>
            </a:extLst>
          </p:cNvPr>
          <p:cNvSpPr txBox="1"/>
          <p:nvPr/>
        </p:nvSpPr>
        <p:spPr>
          <a:xfrm>
            <a:off x="9844399" y="5881917"/>
            <a:ext cx="4727246" cy="1641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5" tIns="50795" rIns="50795" bIns="50795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sz="10000" err="1">
                <a:solidFill>
                  <a:schemeClr val="tx1"/>
                </a:solidFill>
              </a:rPr>
              <a:t>thank+s</a:t>
            </a:r>
            <a:endParaRPr sz="10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18949"/>
      </p:ext>
    </p:extLst>
  </p:cSld>
  <p:clrMapOvr>
    <a:masterClrMapping/>
  </p:clrMapOvr>
  <p:transition spd="med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822271" y="2829600"/>
            <a:ext cx="14397689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03244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822271" y="2829600"/>
            <a:ext cx="2275057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2443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822270" y="2829600"/>
            <a:ext cx="10940340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12629329" y="2829600"/>
            <a:ext cx="10930815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11113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822271" y="2829600"/>
            <a:ext cx="719953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8596241" y="2829600"/>
            <a:ext cx="719953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16371735" y="2829600"/>
            <a:ext cx="7199531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39043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822270" y="2829600"/>
            <a:ext cx="10940340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822270" y="7437600"/>
            <a:ext cx="10940340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12629329" y="2829600"/>
            <a:ext cx="10930815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 bwMode="black">
          <a:xfrm>
            <a:off x="12629329" y="7437600"/>
            <a:ext cx="10930815" cy="4176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04487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822269" y="2829600"/>
            <a:ext cx="14397689" cy="9504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noProof="0" err="1"/>
              <a:t>Thematisches</a:t>
            </a:r>
            <a:r>
              <a:rPr lang="en-US" noProof="0"/>
              <a:t> Bild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16085331" y="2829600"/>
            <a:ext cx="7487513" cy="950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94484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809571" y="2828922"/>
            <a:ext cx="22750571" cy="8784000"/>
          </a:xfrm>
        </p:spPr>
        <p:txBody>
          <a:bodyPr/>
          <a:lstStyle/>
          <a:p>
            <a:r>
              <a:rPr lang="en-US" noProof="0"/>
              <a:t>Click icon to add tabl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37778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822271" y="2828924"/>
            <a:ext cx="7199531" cy="8784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black">
          <a:xfrm>
            <a:off x="8597793" y="2828924"/>
            <a:ext cx="7199531" cy="8784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 bwMode="blackWhite">
          <a:xfrm>
            <a:off x="16373312" y="2828924"/>
            <a:ext cx="7199531" cy="8784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85126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748" y="-1080000"/>
            <a:ext cx="19726710" cy="72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044667" y="3405598"/>
            <a:ext cx="18502796" cy="8208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9600" b="0">
                <a:solidFill>
                  <a:schemeClr val="tx1"/>
                </a:solidFill>
              </a:defRPr>
            </a:lvl1pPr>
            <a:lvl2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/>
            </a:lvl2pPr>
            <a:lvl3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5pPr>
          </a:lstStyle>
          <a:p>
            <a:pPr lvl="0"/>
            <a:r>
              <a:rPr lang="en-US" noProof="0"/>
              <a:t>Bitte </a:t>
            </a:r>
            <a:r>
              <a:rPr lang="en-US" noProof="0" err="1"/>
              <a:t>hier</a:t>
            </a:r>
            <a:r>
              <a:rPr lang="en-US" noProof="0"/>
              <a:t> das </a:t>
            </a:r>
            <a:r>
              <a:rPr lang="en-US" noProof="0" err="1"/>
              <a:t>Zitat</a:t>
            </a:r>
            <a:r>
              <a:rPr lang="en-US" noProof="0"/>
              <a:t> </a:t>
            </a:r>
            <a:r>
              <a:rPr lang="en-US" noProof="0" err="1"/>
              <a:t>einfügen</a:t>
            </a:r>
            <a:r>
              <a:rPr lang="en-US" noProof="0"/>
              <a:t>.</a:t>
            </a:r>
          </a:p>
          <a:p>
            <a:pPr lvl="1"/>
            <a:r>
              <a:rPr lang="en-US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2116663" y="1533526"/>
            <a:ext cx="1815664" cy="12954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600" noProof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40149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271" y="-1080000"/>
            <a:ext cx="19724992" cy="72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044667" y="3405598"/>
            <a:ext cx="18504316" cy="8208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9600" b="0">
                <a:solidFill>
                  <a:schemeClr val="tx2"/>
                </a:solidFill>
              </a:defRPr>
            </a:lvl1pPr>
            <a:lvl2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2pPr>
            <a:lvl3pPr marL="71996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36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9600"/>
            </a:lvl5pPr>
          </a:lstStyle>
          <a:p>
            <a:pPr lvl="0"/>
            <a:r>
              <a:rPr lang="en-US" noProof="0"/>
              <a:t>Bitte </a:t>
            </a:r>
            <a:r>
              <a:rPr lang="en-US" noProof="0" err="1"/>
              <a:t>hier</a:t>
            </a:r>
            <a:r>
              <a:rPr lang="en-US" noProof="0"/>
              <a:t> das </a:t>
            </a:r>
            <a:r>
              <a:rPr lang="en-US" noProof="0" err="1"/>
              <a:t>Zitat</a:t>
            </a:r>
            <a:r>
              <a:rPr lang="en-US" noProof="0"/>
              <a:t> </a:t>
            </a:r>
            <a:r>
              <a:rPr lang="en-US" noProof="0" err="1"/>
              <a:t>einfügen</a:t>
            </a:r>
            <a:r>
              <a:rPr lang="en-US" noProof="0"/>
              <a:t>.</a:t>
            </a:r>
          </a:p>
          <a:p>
            <a:pPr lvl="1"/>
            <a:r>
              <a:rPr lang="en-US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2116663" y="1533526"/>
            <a:ext cx="1815664" cy="12954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600" noProof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70866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page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085E2986-9C58-CA50-C200-2A12748F04D2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3FE96C6C-FCC4-B1D3-E634-1AACAE82124B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812909"/>
      </p:ext>
    </p:extLst>
  </p:cSld>
  <p:clrMapOvr>
    <a:masterClrMapping/>
  </p:clrMapOvr>
  <p:transition spd="med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972672" y="2541598"/>
            <a:ext cx="21598594" cy="907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15999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44138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972672" y="2543076"/>
            <a:ext cx="21598594" cy="907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15999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noProof="0" err="1"/>
              <a:t>Titel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66013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116662" y="2469601"/>
            <a:ext cx="18430800" cy="2325046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15999">
                <a:solidFill>
                  <a:schemeClr val="tx1"/>
                </a:solidFill>
              </a:defRPr>
            </a:lvl1pPr>
          </a:lstStyle>
          <a:p>
            <a:r>
              <a:rPr lang="en-US" noProof="0" err="1"/>
              <a:t>Kontakt</a:t>
            </a:r>
            <a:endParaRPr lang="en-US" noProof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2116662" y="4794649"/>
            <a:ext cx="18430800" cy="6819502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</a:defRPr>
            </a:lvl2pPr>
            <a:lvl3pPr marL="287986" indent="-287986" algn="l">
              <a:spcAft>
                <a:spcPts val="0"/>
              </a:spcAft>
              <a:buFont typeface="Arial" panose="020B0604020202020204" pitchFamily="34" charset="0"/>
              <a:buChar char="•"/>
              <a:defRPr sz="2800" b="0"/>
            </a:lvl3pPr>
            <a:lvl4pPr marL="0" indent="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/>
            </a:lvl4pPr>
            <a:lvl5pPr marL="287986" indent="-287986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chemeClr val="tx1"/>
                </a:solidFill>
              </a:defRPr>
            </a:lvl5pPr>
            <a:lvl6pPr marL="719964" indent="-359982" algn="l">
              <a:spcAft>
                <a:spcPts val="0"/>
              </a:spcAft>
              <a:buFont typeface="Arial" panose="020B0604020202020204" pitchFamily="34" charset="0"/>
              <a:buChar char="•"/>
              <a:defRPr sz="2800"/>
            </a:lvl6pPr>
            <a:lvl7pPr marL="719964" indent="-359982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/>
            </a:lvl7pPr>
            <a:lvl8pPr marL="1079946" indent="-359982" algn="l">
              <a:spcAft>
                <a:spcPts val="0"/>
              </a:spcAft>
              <a:buFont typeface="Arial" panose="020B0604020202020204" pitchFamily="34" charset="0"/>
              <a:buChar char="•"/>
              <a:defRPr sz="2800"/>
            </a:lvl8pPr>
            <a:lvl9pPr marL="1079946" indent="-359982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/>
            </a:lvl9pPr>
          </a:lstStyle>
          <a:p>
            <a:pPr lvl="0"/>
            <a:r>
              <a:rPr lang="en-US" noProof="0" err="1"/>
              <a:t>Kontak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/>
              <a:t>Name etc.</a:t>
            </a:r>
          </a:p>
          <a:p>
            <a:pPr lvl="2"/>
            <a:r>
              <a:rPr lang="en-US" noProof="0" err="1"/>
              <a:t>Kompetenzen</a:t>
            </a:r>
            <a:r>
              <a:rPr lang="en-US" noProof="0"/>
              <a:t> etc.</a:t>
            </a:r>
          </a:p>
          <a:p>
            <a:pPr lvl="3"/>
            <a:r>
              <a:rPr lang="en-US" noProof="0"/>
              <a:t>Name </a:t>
            </a:r>
            <a:r>
              <a:rPr lang="en-US" noProof="0" err="1"/>
              <a:t>oder</a:t>
            </a:r>
            <a:r>
              <a:rPr lang="en-US" noProof="0"/>
              <a:t> </a:t>
            </a:r>
            <a:r>
              <a:rPr lang="en-US" noProof="0" err="1"/>
              <a:t>Unterebene</a:t>
            </a:r>
            <a:endParaRPr lang="en-US" noProof="0"/>
          </a:p>
          <a:p>
            <a:pPr lvl="4"/>
            <a:r>
              <a:rPr lang="en-US" noProof="0" err="1"/>
              <a:t>Kompetenzen</a:t>
            </a:r>
            <a:r>
              <a:rPr lang="en-US" noProof="0"/>
              <a:t> </a:t>
            </a:r>
            <a:r>
              <a:rPr lang="en-US" noProof="0" err="1"/>
              <a:t>oder</a:t>
            </a:r>
            <a:r>
              <a:rPr lang="en-US" noProof="0"/>
              <a:t> </a:t>
            </a:r>
            <a:r>
              <a:rPr lang="en-US" noProof="0" err="1"/>
              <a:t>Unterebene</a:t>
            </a:r>
            <a:endParaRPr lang="en-US" noProof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noProof="0"/>
              <a:t>Unrestricted | © Siemens 2024 | November 202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86354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Right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 descr="Thematic picture – please describe further">
            <a:extLst>
              <a:ext uri="{FF2B5EF4-FFF2-40B4-BE49-F238E27FC236}">
                <a16:creationId xmlns:a16="http://schemas.microsoft.com/office/drawing/2014/main" id="{DE552980-B82A-E3B1-8A4D-6CF86F1948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2"/>
            <a:ext cx="24382413" cy="12334876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 | November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FFF1ECF-BC52-43AF-7B3E-03012AAAFC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6829" y="3577668"/>
            <a:ext cx="10878492" cy="66816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" tIns="54000" rIns="144000" bIns="54000"/>
          <a:lstStyle>
            <a:lvl1pPr marL="0">
              <a:spcAft>
                <a:spcPts val="2400"/>
              </a:spcAft>
              <a:defRPr>
                <a:noFill/>
              </a:defRPr>
            </a:lvl1pPr>
            <a:lvl2pPr marL="0" indent="0">
              <a:spcAft>
                <a:spcPts val="0"/>
              </a:spcAft>
              <a:buNone/>
              <a:defRPr sz="2400" b="1">
                <a:noFill/>
              </a:defRPr>
            </a:lvl2pPr>
            <a:lvl3pPr marL="0" indent="0">
              <a:spcAft>
                <a:spcPts val="0"/>
              </a:spcAft>
              <a:buNone/>
              <a:defRPr sz="2400">
                <a:noFill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DB16A7-0C63-EFC9-BA38-4F98E9A354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747" y="-600"/>
            <a:ext cx="1814282" cy="129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defRPr>
                <a:noFill/>
              </a:defRPr>
            </a:lvl1pPr>
          </a:lstStyle>
          <a:p>
            <a:pPr lvl="0"/>
            <a:r>
              <a:rPr lang="en-US"/>
              <a:t>Marks</a:t>
            </a:r>
          </a:p>
        </p:txBody>
      </p:sp>
    </p:spTree>
    <p:extLst>
      <p:ext uri="{BB962C8B-B14F-4D97-AF65-F5344CB8AC3E}">
        <p14:creationId xmlns:p14="http://schemas.microsoft.com/office/powerpoint/2010/main" val="1585803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7091" y="1380119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7" y="1161172"/>
            <a:ext cx="13439471" cy="1770472"/>
          </a:xfrm>
        </p:spPr>
        <p:txBody>
          <a:bodyPr anchor="t">
            <a:noAutofit/>
          </a:bodyPr>
          <a:lstStyle>
            <a:lvl1pPr marL="0" indent="0" algn="l" fontAlgn="ctr">
              <a:lnSpc>
                <a:spcPct val="100000"/>
              </a:lnSpc>
              <a:spcBef>
                <a:spcPts val="0"/>
              </a:spcBef>
              <a:buNone/>
              <a:defRPr sz="10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10"/>
            <a:ext cx="7757351" cy="671776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</p:spTree>
    <p:extLst>
      <p:ext uri="{BB962C8B-B14F-4D97-AF65-F5344CB8AC3E}">
        <p14:creationId xmlns:p14="http://schemas.microsoft.com/office/powerpoint/2010/main" val="2983920630"/>
      </p:ext>
    </p:extLst>
  </p:cSld>
  <p:clrMapOvr>
    <a:masterClrMapping/>
  </p:clrMapOvr>
  <p:transition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(with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7091" y="1380119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7" y="1161172"/>
            <a:ext cx="13439471" cy="1770472"/>
          </a:xfrm>
        </p:spPr>
        <p:txBody>
          <a:bodyPr anchor="t">
            <a:noAutofit/>
          </a:bodyPr>
          <a:lstStyle>
            <a:lvl1pPr marL="0" indent="0" algn="l" fontAlgn="ctr">
              <a:lnSpc>
                <a:spcPct val="100000"/>
              </a:lnSpc>
              <a:spcBef>
                <a:spcPts val="0"/>
              </a:spcBef>
              <a:buNone/>
              <a:defRPr sz="10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10"/>
            <a:ext cx="7757351" cy="671776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E21B4B7D-AF38-2F7C-B858-879DCC520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95315" y="3081578"/>
            <a:ext cx="13439471" cy="1770472"/>
          </a:xfrm>
        </p:spPr>
        <p:txBody>
          <a:bodyPr>
            <a:noAutofit/>
          </a:bodyPr>
          <a:lstStyle>
            <a:lvl1pPr marL="0" indent="0" algn="l" fontAlgn="ctr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The first feasible solution to supply chain carbon management</a:t>
            </a:r>
          </a:p>
        </p:txBody>
      </p:sp>
    </p:spTree>
    <p:extLst>
      <p:ext uri="{BB962C8B-B14F-4D97-AF65-F5344CB8AC3E}">
        <p14:creationId xmlns:p14="http://schemas.microsoft.com/office/powerpoint/2010/main" val="580813430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">
            <a:extLst>
              <a:ext uri="{FF2B5EF4-FFF2-40B4-BE49-F238E27FC236}">
                <a16:creationId xmlns:a16="http://schemas.microsoft.com/office/drawing/2014/main" id="{A2418CC8-B6E5-88F1-F5AE-71B6BBA495BD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3"/>
            <a:ext cx="4685568" cy="1641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5" tIns="50795" rIns="50795" bIns="50795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10000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60"/>
            <a:ext cx="12934114" cy="6730264"/>
          </a:xfrm>
        </p:spPr>
        <p:txBody>
          <a:bodyPr>
            <a:noAutofit/>
          </a:bodyPr>
          <a:lstStyle>
            <a:lvl1pPr marL="0" indent="0" algn="l" defTabSz="9143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 Regular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60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961774638"/>
      </p:ext>
    </p:extLst>
  </p:cSld>
  <p:clrMapOvr>
    <a:masterClrMapping/>
  </p:clrMapOvr>
  <p:transition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(documenta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">
            <a:extLst>
              <a:ext uri="{FF2B5EF4-FFF2-40B4-BE49-F238E27FC236}">
                <a16:creationId xmlns:a16="http://schemas.microsoft.com/office/drawing/2014/main" id="{A2418CC8-B6E5-88F1-F5AE-71B6BBA495BD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3"/>
            <a:ext cx="4850677" cy="1641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5" tIns="50795" rIns="50795" bIns="50795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10000" noProof="0">
                <a:solidFill>
                  <a:schemeClr val="tx1"/>
                </a:solidFill>
              </a:rPr>
              <a:t>Content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60"/>
            <a:ext cx="12934114" cy="6730264"/>
          </a:xfrm>
        </p:spPr>
        <p:txBody>
          <a:bodyPr>
            <a:noAutofit/>
          </a:bodyPr>
          <a:lstStyle>
            <a:lvl1pPr marL="0" indent="0" algn="l" defTabSz="9143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 Regular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60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49085691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lin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8"/>
            <a:ext cx="16843564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="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1" y="3165504"/>
            <a:ext cx="14074050" cy="410368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  <a:lvl9pPr marL="4876068" indent="0">
              <a:buNone/>
              <a:defRPr/>
            </a:lvl9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6293173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8" name="Abgerundetes Rechteck">
            <a:extLst>
              <a:ext uri="{FF2B5EF4-FFF2-40B4-BE49-F238E27FC236}">
                <a16:creationId xmlns:a16="http://schemas.microsoft.com/office/drawing/2014/main" id="{7A1ED4AC-49CD-9DDB-7B2E-27F5736D382F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3C36A904-A677-72C0-2320-690605DD7D97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4" y="5766286"/>
            <a:ext cx="12663126" cy="1770472"/>
          </a:xfrm>
        </p:spPr>
        <p:txBody>
          <a:bodyPr anchor="ctr">
            <a:noAutofit/>
          </a:bodyPr>
          <a:lstStyle>
            <a:lvl1pPr marL="0" indent="0" algn="ctr" fontAlgn="ctr">
              <a:lnSpc>
                <a:spcPct val="100000"/>
              </a:lnSpc>
              <a:spcBef>
                <a:spcPts val="0"/>
              </a:spcBef>
              <a:buNone/>
              <a:defRPr sz="10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340290084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(with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7091" y="1380119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7" y="1161172"/>
            <a:ext cx="13439471" cy="1770472"/>
          </a:xfrm>
        </p:spPr>
        <p:txBody>
          <a:bodyPr anchor="t">
            <a:noAutofit/>
          </a:bodyPr>
          <a:lstStyle>
            <a:lvl1pPr marL="0" indent="0" algn="l" fontAlgn="ctr">
              <a:lnSpc>
                <a:spcPct val="100000"/>
              </a:lnSpc>
              <a:spcBef>
                <a:spcPts val="0"/>
              </a:spcBef>
              <a:buNone/>
              <a:defRPr sz="10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10"/>
            <a:ext cx="7757351" cy="671776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E21B4B7D-AF38-2F7C-B858-879DCC520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95315" y="3081578"/>
            <a:ext cx="13439471" cy="1770472"/>
          </a:xfrm>
        </p:spPr>
        <p:txBody>
          <a:bodyPr>
            <a:noAutofit/>
          </a:bodyPr>
          <a:lstStyle>
            <a:lvl1pPr marL="0" indent="0" algn="l" fontAlgn="ctr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The first feasible solution to supply chain carbon management</a:t>
            </a:r>
          </a:p>
        </p:txBody>
      </p:sp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D021867E-22CA-C202-47AE-E7287A842E9A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DA437186-C925-F5A2-3A0F-F2137286C3FE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694769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6641450"/>
      </p:ext>
    </p:extLst>
  </p:cSld>
  <p:clrMapOvr>
    <a:masterClrMapping/>
  </p:clrMapOvr>
  <p:transition spd="med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961869"/>
            <a:ext cx="13951494" cy="119899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out an image and no additional text. </a:t>
            </a:r>
          </a:p>
        </p:txBody>
      </p:sp>
    </p:spTree>
    <p:extLst>
      <p:ext uri="{BB962C8B-B14F-4D97-AF65-F5344CB8AC3E}">
        <p14:creationId xmlns:p14="http://schemas.microsoft.com/office/powerpoint/2010/main" val="3539060967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ig Headline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961869"/>
            <a:ext cx="10232464" cy="119899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 half image and not the slightest bit of copy on the side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0"/>
            <a:ext cx="12141298" cy="10953964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78410892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ig Headline, copy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961866"/>
            <a:ext cx="10232464" cy="511446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headline with image and copy block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-9606"/>
            <a:ext cx="12141298" cy="10953964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9F1CA369-F63A-DA17-A560-CA50C3D99B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959" y="6676526"/>
            <a:ext cx="10194498" cy="642684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BAD5F22E-009A-3A1B-87F6-3C1DA40A2F99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C6438D1C-B8A3-C714-225F-31F8C289061E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72753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line and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8"/>
            <a:ext cx="21746883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2"/>
            <a:ext cx="10370117" cy="91779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9" y="3165502"/>
            <a:ext cx="10370115" cy="91779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1" name="Abgerundetes Rechteck">
            <a:extLst>
              <a:ext uri="{FF2B5EF4-FFF2-40B4-BE49-F238E27FC236}">
                <a16:creationId xmlns:a16="http://schemas.microsoft.com/office/drawing/2014/main" id="{C8CD356E-7818-6E32-3E78-0CA9CF7E6E6D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62D4CFF4-5791-50BF-D8ED-818DD782E0FC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014251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line, sub-heading,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8"/>
            <a:ext cx="21746883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4949688"/>
            <a:ext cx="10370117" cy="7393716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9" y="4949686"/>
            <a:ext cx="10370115" cy="7393716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A226D27D-B069-A2D3-0346-886BDEB33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7540" y="3234528"/>
            <a:ext cx="10370117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FF3979DD-A4A8-FCA7-0F1B-174F1CDE5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94758" y="3234526"/>
            <a:ext cx="10370117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11" name="Abgerundetes Rechteck">
            <a:extLst>
              <a:ext uri="{FF2B5EF4-FFF2-40B4-BE49-F238E27FC236}">
                <a16:creationId xmlns:a16="http://schemas.microsoft.com/office/drawing/2014/main" id="{466F99F3-566A-0DA1-0034-0BF0A4FBEFF6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D428758F-F89E-FE28-0E1E-8DC99D3179BA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586933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lin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1168348"/>
            <a:ext cx="21798919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</p:spTree>
    <p:extLst>
      <p:ext uri="{BB962C8B-B14F-4D97-AF65-F5344CB8AC3E}">
        <p14:creationId xmlns:p14="http://schemas.microsoft.com/office/powerpoint/2010/main" val="1385433556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line, w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1168348"/>
            <a:ext cx="21798919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8A3E033D-78FC-3AAC-A32E-FC4176E840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1" y="3165502"/>
            <a:ext cx="21798919" cy="905962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2437972" rtl="0" eaLnBrk="1" fontAlgn="auto" latinLnBrk="0" hangingPunct="1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D9E6E0BD-AE99-7E21-256E-4EDC2A932281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07122A56-55D6-190F-BB63-F82687640FD3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731960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ing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1168348"/>
            <a:ext cx="21798919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0CC57B-3501-9B43-3F34-43C8F80217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17541" y="2941638"/>
            <a:ext cx="21852104" cy="88661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</a:t>
            </a:r>
            <a:r>
              <a:rPr lang="en-DE"/>
              <a:t>dd image by clicking on icon</a:t>
            </a:r>
          </a:p>
          <a:p>
            <a:endParaRPr lang="en-DE"/>
          </a:p>
        </p:txBody>
      </p:sp>
      <p:sp>
        <p:nvSpPr>
          <p:cNvPr id="7" name="Abgerundetes Rechteck">
            <a:extLst>
              <a:ext uri="{FF2B5EF4-FFF2-40B4-BE49-F238E27FC236}">
                <a16:creationId xmlns:a16="http://schemas.microsoft.com/office/drawing/2014/main" id="{A446684C-FAC0-30BC-672E-3316E47984EC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4A2723CF-DD1C-07BE-C808-5F98E3298039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343479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only image/table/chart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54021DC1-8FC4-0B7A-BD65-1505B237B0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351997" y="1490733"/>
            <a:ext cx="21678423" cy="107345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DE"/>
              <a:t>Add image, table, chart, smart media, etc. by clicking on icons </a:t>
            </a:r>
          </a:p>
        </p:txBody>
      </p:sp>
      <p:sp>
        <p:nvSpPr>
          <p:cNvPr id="12" name="Abgerundetes Rechteck">
            <a:extLst>
              <a:ext uri="{FF2B5EF4-FFF2-40B4-BE49-F238E27FC236}">
                <a16:creationId xmlns:a16="http://schemas.microsoft.com/office/drawing/2014/main" id="{BD5828B2-A89C-852C-2C7C-548322A38CD7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B9216A20-CBE4-337E-4317-B62CAF9D0B49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232971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38" y="-4521200"/>
            <a:ext cx="30463887" cy="21275628"/>
          </a:xfrm>
          <a:prstGeom prst="rect">
            <a:avLst/>
          </a:prstGeom>
        </p:spPr>
      </p:pic>
      <p:sp>
        <p:nvSpPr>
          <p:cNvPr id="14" name="Abgerundetes Rechteck">
            <a:extLst>
              <a:ext uri="{FF2B5EF4-FFF2-40B4-BE49-F238E27FC236}">
                <a16:creationId xmlns:a16="http://schemas.microsoft.com/office/drawing/2014/main" id="{3461A918-5002-37D7-7A3B-645EB7531841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B01F8512-C480-D69A-9664-BC25E50006D0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34049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ZZ_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">
            <a:extLst>
              <a:ext uri="{FF2B5EF4-FFF2-40B4-BE49-F238E27FC236}">
                <a16:creationId xmlns:a16="http://schemas.microsoft.com/office/drawing/2014/main" id="{255775E3-8063-A5B9-40C7-BCF4A2545A5D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de-DE" sz="20000">
                <a:solidFill>
                  <a:schemeClr val="tx1"/>
                </a:solidFill>
              </a:rPr>
              <a:t>Version 3 </a:t>
            </a:r>
            <a:br>
              <a:rPr lang="de-DE" sz="20000">
                <a:solidFill>
                  <a:schemeClr val="tx1"/>
                </a:solidFill>
              </a:rPr>
            </a:br>
            <a:r>
              <a:rPr lang="de-DE" sz="20000">
                <a:solidFill>
                  <a:schemeClr val="tx1"/>
                </a:solidFill>
              </a:rPr>
              <a:t>(30 Sep 2024)</a:t>
            </a:r>
            <a:endParaRPr sz="20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077792"/>
      </p:ext>
    </p:extLst>
  </p:cSld>
  <p:clrMapOvr>
    <a:masterClrMapping/>
  </p:clrMapOvr>
  <p:transition spd="med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38" y="-4538132"/>
            <a:ext cx="30463887" cy="212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734744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hank+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6" y="12626356"/>
            <a:ext cx="633263" cy="333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sz="1500" baseline="0">
                <a:solidFill>
                  <a:srgbClr val="3C6DF6"/>
                </a:solidFill>
              </a:rPr>
              <a:t>‹Nr.›</a:t>
            </a:fld>
            <a:endParaRPr sz="1500" baseline="0">
              <a:solidFill>
                <a:srgbClr val="3C6DF6"/>
              </a:solidFill>
            </a:endParaRPr>
          </a:p>
        </p:txBody>
      </p:sp>
      <p:sp>
        <p:nvSpPr>
          <p:cNvPr id="8" name="ctrl+s GmbH   ◾   Lohmühlenstr. 65   ◾   12435 Berlin   ◾   Germany   ◾   +49 175 717 00 62   ◾   info@ctrl-s.io…">
            <a:extLst>
              <a:ext uri="{FF2B5EF4-FFF2-40B4-BE49-F238E27FC236}">
                <a16:creationId xmlns:a16="http://schemas.microsoft.com/office/drawing/2014/main" id="{800F3C8E-F73D-BD2C-1BD2-B4FB80C793C2}"/>
              </a:ext>
            </a:extLst>
          </p:cNvPr>
          <p:cNvSpPr txBox="1"/>
          <p:nvPr/>
        </p:nvSpPr>
        <p:spPr>
          <a:xfrm>
            <a:off x="42330" y="12643668"/>
            <a:ext cx="24382415" cy="914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/>
          <a:lstStyle/>
          <a:p>
            <a:pPr marL="0" indent="0" defTabSz="457131">
              <a:lnSpc>
                <a:spcPct val="120000"/>
              </a:lnSpc>
              <a:buFont typeface="Arial" panose="020B0604020202020204" pitchFamily="34" charset="0"/>
              <a:buNone/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ctrl+s</a:t>
            </a:r>
            <a:r>
              <a:rPr sz="1800"/>
              <a:t> GmbH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Lohmühlenstr</a:t>
            </a:r>
            <a:r>
              <a:rPr sz="1800"/>
              <a:t>. 65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12435 Berlin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Germany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+49 </a:t>
            </a:r>
            <a:r>
              <a:rPr lang="de-DE" sz="1800"/>
              <a:t>30 2060 8611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info@ctrl-s.io</a:t>
            </a:r>
            <a:r>
              <a:rPr lang="de-DE" sz="1800"/>
              <a:t> </a:t>
            </a:r>
            <a:r>
              <a:rPr lang="de-DE" sz="2400"/>
              <a:t> </a:t>
            </a:r>
            <a:r>
              <a:rPr lang="de-DE" sz="1000" baseline="37500"/>
              <a:t>◾</a:t>
            </a:r>
            <a:r>
              <a:rPr lang="de-DE" sz="1000" baseline="20000"/>
              <a:t> </a:t>
            </a:r>
            <a:r>
              <a:rPr lang="de-DE" sz="2400" baseline="20000"/>
              <a:t>   </a:t>
            </a:r>
            <a:r>
              <a:rPr lang="de-DE" sz="1800" err="1"/>
              <a:t>www.ctrl-s.io</a:t>
            </a:r>
            <a:endParaRPr lang="de-DE" sz="1800"/>
          </a:p>
          <a:p>
            <a:pPr defTabSz="457131">
              <a:lnSpc>
                <a:spcPct val="120000"/>
              </a:lnSpc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Handelsregister</a:t>
            </a:r>
            <a:r>
              <a:rPr sz="1800"/>
              <a:t>: </a:t>
            </a:r>
            <a:r>
              <a:rPr sz="1800" err="1"/>
              <a:t>Amtsgericht</a:t>
            </a:r>
            <a:r>
              <a:rPr sz="1800"/>
              <a:t> Charlottenburg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HRB 238515 B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Geschäftsführung</a:t>
            </a:r>
            <a:r>
              <a:rPr sz="1800"/>
              <a:t>: Dr. Moritz </a:t>
            </a:r>
            <a:r>
              <a:rPr sz="1800" err="1"/>
              <a:t>Nill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Marcel </a:t>
            </a:r>
            <a:r>
              <a:rPr sz="1800" err="1"/>
              <a:t>Severith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Johannes Scholz</a:t>
            </a:r>
          </a:p>
        </p:txBody>
      </p:sp>
      <p:sp>
        <p:nvSpPr>
          <p:cNvPr id="10" name="thank+s">
            <a:extLst>
              <a:ext uri="{FF2B5EF4-FFF2-40B4-BE49-F238E27FC236}">
                <a16:creationId xmlns:a16="http://schemas.microsoft.com/office/drawing/2014/main" id="{9BB52C7B-8376-9DF8-C316-613FB0F0E3EB}"/>
              </a:ext>
            </a:extLst>
          </p:cNvPr>
          <p:cNvSpPr txBox="1"/>
          <p:nvPr/>
        </p:nvSpPr>
        <p:spPr>
          <a:xfrm>
            <a:off x="9844399" y="5881917"/>
            <a:ext cx="4727246" cy="1641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5" tIns="50795" rIns="50795" bIns="50795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sz="10000" err="1">
                <a:solidFill>
                  <a:schemeClr val="tx1"/>
                </a:solidFill>
              </a:rPr>
              <a:t>thank+s</a:t>
            </a:r>
            <a:endParaRPr sz="10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859917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page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085E2986-9C58-CA50-C200-2A12748F04D2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3FE96C6C-FCC4-B1D3-E634-1AACAE82124B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200094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942971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ZZ_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">
            <a:extLst>
              <a:ext uri="{FF2B5EF4-FFF2-40B4-BE49-F238E27FC236}">
                <a16:creationId xmlns:a16="http://schemas.microsoft.com/office/drawing/2014/main" id="{255775E3-8063-A5B9-40C7-BCF4A2545A5D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de-DE" sz="20000">
                <a:solidFill>
                  <a:schemeClr val="tx1"/>
                </a:solidFill>
              </a:rPr>
              <a:t>Version 3 </a:t>
            </a:r>
            <a:br>
              <a:rPr lang="de-DE" sz="20000">
                <a:solidFill>
                  <a:schemeClr val="tx1"/>
                </a:solidFill>
              </a:rPr>
            </a:br>
            <a:r>
              <a:rPr lang="de-DE" sz="20000">
                <a:solidFill>
                  <a:schemeClr val="tx1"/>
                </a:solidFill>
              </a:rPr>
              <a:t>(30 Sep 2024)</a:t>
            </a:r>
            <a:endParaRPr sz="20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805517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832541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genumber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9343463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7091" y="1380117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6" y="1026703"/>
            <a:ext cx="13439472" cy="1770472"/>
          </a:xfrm>
        </p:spPr>
        <p:txBody>
          <a:bodyPr>
            <a:noAutofit/>
          </a:bodyPr>
          <a:lstStyle>
            <a:lvl1pPr marL="0" indent="0" algn="l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09"/>
            <a:ext cx="7757352" cy="67177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DB7783D9-289C-8886-32CE-6104F2E8645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3E32B85A-A1D8-77C8-B5DB-E9278B4EEFBD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952E322-C498-6804-33F2-CB1BE740AA30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297103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0" y="0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051829" y="124314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29B929FB-6C3B-6B13-A9A1-61388BC342C8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A87B184A-F217-1116-7C1C-8CC799BB6424}"/>
              </a:ext>
            </a:extLst>
          </p:cNvPr>
          <p:cNvSpPr txBox="1"/>
          <p:nvPr/>
        </p:nvSpPr>
        <p:spPr>
          <a:xfrm>
            <a:off x="23035812" y="12450814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84687469-2704-8BA1-298B-29E309C7F263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59B8B80A-A67C-E3FF-1309-1D8BF54DDC28}"/>
              </a:ext>
            </a:extLst>
          </p:cNvPr>
          <p:cNvSpPr txBox="1"/>
          <p:nvPr/>
        </p:nvSpPr>
        <p:spPr>
          <a:xfrm>
            <a:off x="23204229" y="125838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17" name="Text">
            <a:extLst>
              <a:ext uri="{FF2B5EF4-FFF2-40B4-BE49-F238E27FC236}">
                <a16:creationId xmlns:a16="http://schemas.microsoft.com/office/drawing/2014/main" id="{8C0F4D9A-5C1C-F1E2-80D3-9ECA56224818}"/>
              </a:ext>
            </a:extLst>
          </p:cNvPr>
          <p:cNvSpPr txBox="1"/>
          <p:nvPr/>
        </p:nvSpPr>
        <p:spPr>
          <a:xfrm>
            <a:off x="23356629" y="127362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D18F8F4C-614D-F099-0099-255D49672762}"/>
              </a:ext>
            </a:extLst>
          </p:cNvPr>
          <p:cNvSpPr txBox="1"/>
          <p:nvPr/>
        </p:nvSpPr>
        <p:spPr>
          <a:xfrm>
            <a:off x="23311478" y="12656455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25" name="Abgerundetes Rechteck">
            <a:extLst>
              <a:ext uri="{FF2B5EF4-FFF2-40B4-BE49-F238E27FC236}">
                <a16:creationId xmlns:a16="http://schemas.microsoft.com/office/drawing/2014/main" id="{D86801AE-973F-7A9F-CAA1-954E024CF479}"/>
              </a:ext>
            </a:extLst>
          </p:cNvPr>
          <p:cNvSpPr/>
          <p:nvPr/>
        </p:nvSpPr>
        <p:spPr>
          <a:xfrm>
            <a:off x="23214059" y="12425812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F2C1EA2C-460A-C1BD-BCBD-9799C402BEB4}"/>
              </a:ext>
            </a:extLst>
          </p:cNvPr>
          <p:cNvSpPr txBox="1"/>
          <p:nvPr/>
        </p:nvSpPr>
        <p:spPr>
          <a:xfrm>
            <a:off x="23214059" y="12505160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753438"/>
      </p:ext>
    </p:extLst>
  </p:cSld>
  <p:clrMapOvr>
    <a:masterClrMapping/>
  </p:clrMapOvr>
  <p:transition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 (note: make agenda point that comes next white)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Recap: S3 measurement – tasks &amp; methods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7071667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1130975"/>
      </p:ext>
    </p:extLst>
  </p:cSld>
  <p:clrMapOvr>
    <a:masterClrMapping/>
  </p:clrMapOvr>
  <p:transition spd="med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lin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16843564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="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3"/>
            <a:ext cx="14074049" cy="4103687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  <a:lvl9pPr marL="4876312" indent="0">
              <a:buNone/>
              <a:defRPr/>
            </a:lvl9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90506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285856585"/>
      </p:ext>
    </p:extLst>
  </p:cSld>
  <p:clrMapOvr>
    <a:masterClrMapping/>
  </p:clrMapOvr>
  <p:transition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706947425"/>
      </p:ext>
    </p:extLst>
  </p:cSld>
  <p:clrMapOvr>
    <a:masterClrMapping/>
  </p:clrMapOvr>
  <p:transition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395149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out an image and no additional text.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85FC264-4732-4153-3041-42D8CE4E67F7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28822838"/>
      </p:ext>
    </p:extLst>
  </p:cSld>
  <p:clrMapOvr>
    <a:masterClrMapping/>
  </p:clrMapOvr>
  <p:transition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ig Headline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023246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 half image and not the slightest bit of copy on the side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0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E5FDB63E-EA25-3326-7BB4-17630C837E2C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3999BAE4-92C2-C158-299F-E8FDCEB02AB8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B8023D9F-99B0-6F6B-474B-CB6AE0989E38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feld 4">
            <a:extLst>
              <a:ext uri="{FF2B5EF4-FFF2-40B4-BE49-F238E27FC236}">
                <a16:creationId xmlns:a16="http://schemas.microsoft.com/office/drawing/2014/main" id="{C3E3AAE9-F3C0-F8BF-7AA8-D42C63199722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536359877"/>
      </p:ext>
    </p:extLst>
  </p:cSld>
  <p:clrMapOvr>
    <a:masterClrMapping/>
  </p:clrMapOvr>
  <p:transition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ig Headline, copy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7"/>
            <a:ext cx="10232464" cy="511446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headline with image and copy block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-9605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9F1CA369-F63A-DA17-A560-CA50C3D99B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957" y="6676525"/>
            <a:ext cx="10194499" cy="6426839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B1F3A2A-C369-D893-78BA-150B72527061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03234957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line and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3165502"/>
            <a:ext cx="10370117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3165502"/>
            <a:ext cx="10370116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BD0C39C1-4C61-C323-43C5-EE0D71D9ADE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571B5686-207B-9C84-51B0-BC0243BDF627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9CF5582A-483B-F5B3-89CF-0B22FB43341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E625BBDD-5D4A-93BA-6A62-65C8D0C659BB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71735AA1-7B50-C7C5-08BB-D06F379D4CBD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166938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line, sub-heading,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4949687"/>
            <a:ext cx="10370117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4949686"/>
            <a:ext cx="10370116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A226D27D-B069-A2D3-0346-886BDEB33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7540" y="3234527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FF3979DD-A4A8-FCA7-0F1B-174F1CDE5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94758" y="3234526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D8BCA6F8-60A6-CCB6-0F5C-A0B40E7979B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84A0FA40-40BA-EE66-EF3F-E8FA89A98B20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EBA3360F-6EB7-1033-5DA3-DAF46780455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908558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lin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B66027ED-C6C5-0C6C-D71B-46726BB54726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9E958F68-84AC-194A-42FF-3F5722E17229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573A8AA8-AA0E-6CDD-D31F-BB9F2FF621FA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360601"/>
      </p:ext>
    </p:extLst>
  </p:cSld>
  <p:clrMapOvr>
    <a:masterClrMapping/>
  </p:clrMapOvr>
  <p:transition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line, w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8A3E033D-78FC-3AAC-A32E-FC4176E840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2"/>
            <a:ext cx="21798920" cy="9059628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47CE2091-CF76-CA9F-3F0C-408620C60987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4AA5B8F-50DA-94AE-6839-638FA6A30844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08D9EEC8-B3BB-3D0A-FB74-3B01DF37E2E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272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_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8" y="957600"/>
            <a:ext cx="17966363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21D054E4-46E6-42F4-9EF6-F9ED18F2F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1401789" y="12837600"/>
            <a:ext cx="2303850" cy="3663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4486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6">
          <p15:clr>
            <a:srgbClr val="65CEFF"/>
          </p15:clr>
        </p15:guide>
        <p15:guide id="19" pos="6915">
          <p15:clr>
            <a:srgbClr val="65CEFF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ing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0CC57B-3501-9B43-3F34-43C8F80217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17540" y="2941638"/>
            <a:ext cx="21852103" cy="8866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</a:t>
            </a:r>
            <a:r>
              <a:rPr lang="en-DE"/>
              <a:t>dd image by clicking on icon</a:t>
            </a:r>
          </a:p>
          <a:p>
            <a:endParaRPr lang="en-DE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861A4FD8-18A7-7463-986E-FADC211FF0D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BF134A4B-BE98-1E97-30FE-7F891F23E326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96931132-9643-9BD4-20B2-9FD3FC8A392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101113"/>
      </p:ext>
    </p:extLst>
  </p:cSld>
  <p:clrMapOvr>
    <a:masterClrMapping/>
  </p:clrMapOvr>
  <p:transition spd="med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only image/table/chart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FE0BD6D8-8F8A-B24D-D09E-644DDD3A476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C1CA9271-E20D-B44D-4B2E-68008AE3C3F6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54021DC1-8FC4-0B7A-BD65-1505B237B0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351996" y="1490731"/>
            <a:ext cx="21678422" cy="107345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DE"/>
              <a:t>Add image, table, chart, smart media, etc. by clicking on icons 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E39AD9B3-C311-8DB2-2A0F-1732F94106C5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3F855441-C86B-1E6A-F8A4-0590DD14662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1B38E1CA-0013-3C90-0E08-5F1DBD0C71DE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4183A1FA-AC30-99C9-2936-7F238EEFB355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912973"/>
      </p:ext>
    </p:extLst>
  </p:cSld>
  <p:clrMapOvr>
    <a:masterClrMapping/>
  </p:clrMapOvr>
  <p:transition spd="med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40" y="-4521199"/>
            <a:ext cx="30463888" cy="21275628"/>
          </a:xfrm>
          <a:prstGeom prst="rect">
            <a:avLst/>
          </a:prstGeom>
        </p:spPr>
      </p:pic>
      <p:sp>
        <p:nvSpPr>
          <p:cNvPr id="3" name="Text">
            <a:extLst>
              <a:ext uri="{FF2B5EF4-FFF2-40B4-BE49-F238E27FC236}">
                <a16:creationId xmlns:a16="http://schemas.microsoft.com/office/drawing/2014/main" id="{DA254132-D298-6998-3CA0-46D3CDB8E84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0A63248-4014-896A-27A6-91D9BEA845A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1DF8AC5-E090-5B87-253F-3FBE9633C233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9D5C0D07-DE82-ECE7-553E-2AB62F2168A0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20323709-E75F-5A66-D25E-2DB08D6BED0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78273BC9-7DBD-23AE-50DF-F154E751E4CF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9880D694-7D7A-9333-0883-3F122DC89AD7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115423"/>
      </p:ext>
    </p:extLst>
  </p:cSld>
  <p:clrMapOvr>
    <a:masterClrMapping/>
  </p:clrMapOvr>
  <p:transition spd="med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40" y="-4538132"/>
            <a:ext cx="30463888" cy="212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75890"/>
      </p:ext>
    </p:extLst>
  </p:cSld>
  <p:clrMapOvr>
    <a:masterClrMapping/>
  </p:clrMapOvr>
  <p:transition spd="med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hank+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sz="1500" baseline="0">
                <a:solidFill>
                  <a:srgbClr val="3C6DF6"/>
                </a:solidFill>
              </a:rPr>
              <a:t>‹Nr.›</a:t>
            </a:fld>
            <a:endParaRPr sz="1500" baseline="0">
              <a:solidFill>
                <a:srgbClr val="3C6DF6"/>
              </a:solidFill>
            </a:endParaRPr>
          </a:p>
        </p:txBody>
      </p:sp>
      <p:sp>
        <p:nvSpPr>
          <p:cNvPr id="8" name="ctrl+s GmbH   ◾   Lohmühlenstr. 65   ◾   12435 Berlin   ◾   Germany   ◾   +49 175 717 00 62   ◾   info@ctrl-s.io…">
            <a:extLst>
              <a:ext uri="{FF2B5EF4-FFF2-40B4-BE49-F238E27FC236}">
                <a16:creationId xmlns:a16="http://schemas.microsoft.com/office/drawing/2014/main" id="{800F3C8E-F73D-BD2C-1BD2-B4FB80C793C2}"/>
              </a:ext>
            </a:extLst>
          </p:cNvPr>
          <p:cNvSpPr txBox="1"/>
          <p:nvPr/>
        </p:nvSpPr>
        <p:spPr>
          <a:xfrm>
            <a:off x="42330" y="12643668"/>
            <a:ext cx="24382414" cy="9146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/>
          <a:lstStyle/>
          <a:p>
            <a:pPr marL="0" indent="0" defTabSz="457154">
              <a:lnSpc>
                <a:spcPct val="120000"/>
              </a:lnSpc>
              <a:buFont typeface="Arial" panose="020B0604020202020204" pitchFamily="34" charset="0"/>
              <a:buNone/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ctrl+s</a:t>
            </a:r>
            <a:r>
              <a:rPr sz="1800"/>
              <a:t> GmbH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Lohmühlenstr</a:t>
            </a:r>
            <a:r>
              <a:rPr sz="1800"/>
              <a:t>. 65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12435 Berlin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Germany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+49 </a:t>
            </a:r>
            <a:r>
              <a:rPr lang="de-DE" sz="1800"/>
              <a:t>30 2060 8611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info@ctrl-s.io</a:t>
            </a:r>
            <a:r>
              <a:rPr lang="de-DE" sz="1800"/>
              <a:t> </a:t>
            </a:r>
            <a:r>
              <a:rPr lang="de-DE" sz="2400"/>
              <a:t> </a:t>
            </a:r>
            <a:r>
              <a:rPr lang="de-DE" sz="1000" baseline="37500"/>
              <a:t>◾</a:t>
            </a:r>
            <a:r>
              <a:rPr lang="de-DE" sz="1000" baseline="20000"/>
              <a:t> </a:t>
            </a:r>
            <a:r>
              <a:rPr lang="de-DE" sz="2400" baseline="20000"/>
              <a:t>   </a:t>
            </a:r>
            <a:r>
              <a:rPr lang="de-DE" sz="1800" err="1"/>
              <a:t>www.ctrl-s.io</a:t>
            </a:r>
            <a:endParaRPr lang="de-DE" sz="1800"/>
          </a:p>
          <a:p>
            <a:pPr defTabSz="457154">
              <a:lnSpc>
                <a:spcPct val="120000"/>
              </a:lnSpc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Handelsregister</a:t>
            </a:r>
            <a:r>
              <a:rPr sz="1800"/>
              <a:t>: </a:t>
            </a:r>
            <a:r>
              <a:rPr sz="1800" err="1"/>
              <a:t>Amtsgericht</a:t>
            </a:r>
            <a:r>
              <a:rPr sz="1800"/>
              <a:t> Charlottenburg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HRB 238515 B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Geschäftsführung</a:t>
            </a:r>
            <a:r>
              <a:rPr sz="1800"/>
              <a:t>: Dr. Moritz </a:t>
            </a:r>
            <a:r>
              <a:rPr sz="1800" err="1"/>
              <a:t>Nill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Marcel </a:t>
            </a:r>
            <a:r>
              <a:rPr sz="1800" err="1"/>
              <a:t>Severith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Johannes Scholz</a:t>
            </a:r>
          </a:p>
        </p:txBody>
      </p:sp>
      <p:sp>
        <p:nvSpPr>
          <p:cNvPr id="10" name="thank+s">
            <a:extLst>
              <a:ext uri="{FF2B5EF4-FFF2-40B4-BE49-F238E27FC236}">
                <a16:creationId xmlns:a16="http://schemas.microsoft.com/office/drawing/2014/main" id="{9BB52C7B-8376-9DF8-C316-613FB0F0E3EB}"/>
              </a:ext>
            </a:extLst>
          </p:cNvPr>
          <p:cNvSpPr txBox="1"/>
          <p:nvPr/>
        </p:nvSpPr>
        <p:spPr>
          <a:xfrm>
            <a:off x="9844399" y="5881916"/>
            <a:ext cx="4726948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sz="9999" err="1">
                <a:solidFill>
                  <a:schemeClr val="tx1"/>
                </a:solidFill>
              </a:rPr>
              <a:t>thank+s</a:t>
            </a:r>
            <a:endParaRPr sz="99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360573"/>
      </p:ext>
    </p:extLst>
  </p:cSld>
  <p:clrMapOvr>
    <a:masterClrMapping/>
  </p:clrMapOvr>
  <p:transition spd="med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6260440"/>
      </p:ext>
    </p:extLst>
  </p:cSld>
  <p:clrMapOvr>
    <a:masterClrMapping/>
  </p:clrMapOvr>
  <p:transition spd="med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1F636B-C90A-FE32-5501-36B46979C0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118182" y="12621600"/>
            <a:ext cx="18430800" cy="1094400"/>
          </a:xfrm>
        </p:spPr>
        <p:txBody>
          <a:bodyPr/>
          <a:lstStyle/>
          <a:p>
            <a:r>
              <a:rPr lang="en-US"/>
              <a:t>© Siemens 2023 | DI FA MF PCF | </a:t>
            </a:r>
            <a:r>
              <a:rPr lang="en-US" err="1"/>
              <a:t>siemens.com</a:t>
            </a:r>
            <a:r>
              <a:rPr lang="en-US"/>
              <a:t>/SiGREEN</a:t>
            </a:r>
          </a:p>
        </p:txBody>
      </p:sp>
    </p:spTree>
    <p:extLst>
      <p:ext uri="{BB962C8B-B14F-4D97-AF65-F5344CB8AC3E}">
        <p14:creationId xmlns:p14="http://schemas.microsoft.com/office/powerpoint/2010/main" val="248903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Confidential © Siemens 2024 | Joint approach: ctrl+s and Siemens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3" name="Grafik 2" descr="Ein Bild, das Logo, Symbol, Schrift, Zahl enthält.&#10;&#10;Automatisch generierte Beschreibung">
            <a:extLst>
              <a:ext uri="{FF2B5EF4-FFF2-40B4-BE49-F238E27FC236}">
                <a16:creationId xmlns:a16="http://schemas.microsoft.com/office/drawing/2014/main" id="{2A14334C-3031-2FD3-A687-D83FCD055A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73813" y="12749709"/>
            <a:ext cx="2303850" cy="54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7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7969818"/>
      </p:ext>
    </p:extLst>
  </p:cSld>
  <p:clrMapOvr>
    <a:masterClrMapping/>
  </p:clrMapOvr>
  <p:transition spd="med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page number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7867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71755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_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8" y="957600"/>
            <a:ext cx="17966363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21D054E4-46E6-42F4-9EF6-F9ED18F2F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1401789" y="12837600"/>
            <a:ext cx="2303850" cy="3663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5238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6">
          <p15:clr>
            <a:srgbClr val="65CEFF"/>
          </p15:clr>
        </p15:guide>
        <p15:guide id="19" pos="6915">
          <p15:clr>
            <a:srgbClr val="65CEFF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3528219"/>
      </p:ext>
    </p:extLst>
  </p:cSld>
  <p:clrMapOvr>
    <a:masterClrMapping/>
  </p:clrMapOvr>
  <p:transition spd="med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genumber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">
            <a:extLst>
              <a:ext uri="{FF2B5EF4-FFF2-40B4-BE49-F238E27FC236}">
                <a16:creationId xmlns:a16="http://schemas.microsoft.com/office/drawing/2014/main" id="{CE2BF8F4-DD1B-B5E5-87E0-27FA6C71698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2" name="Abgerundetes Rechteck">
            <a:extLst>
              <a:ext uri="{FF2B5EF4-FFF2-40B4-BE49-F238E27FC236}">
                <a16:creationId xmlns:a16="http://schemas.microsoft.com/office/drawing/2014/main" id="{78450877-5706-E6F1-AD04-E5E9BD8D04C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1395B7A4-6B61-2FE4-177F-BA2F478E487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pPr/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061636"/>
      </p:ext>
    </p:extLst>
  </p:cSld>
  <p:clrMapOvr>
    <a:masterClrMapping/>
  </p:clrMapOvr>
  <p:transition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97091" y="1380117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6" y="1026703"/>
            <a:ext cx="13439472" cy="1770472"/>
          </a:xfrm>
        </p:spPr>
        <p:txBody>
          <a:bodyPr>
            <a:noAutofit/>
          </a:bodyPr>
          <a:lstStyle>
            <a:lvl1pPr marL="0" indent="0" algn="l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09"/>
            <a:ext cx="7757352" cy="67177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DB7783D9-289C-8886-32CE-6104F2E8645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3E32B85A-A1D8-77C8-B5DB-E9278B4EEFBD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952E322-C498-6804-33F2-CB1BE740AA30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821507"/>
      </p:ext>
    </p:extLst>
  </p:cSld>
  <p:clrMapOvr>
    <a:masterClrMapping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0" y="0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051829" y="124314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29B929FB-6C3B-6B13-A9A1-61388BC342C8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A87B184A-F217-1116-7C1C-8CC799BB6424}"/>
              </a:ext>
            </a:extLst>
          </p:cNvPr>
          <p:cNvSpPr txBox="1"/>
          <p:nvPr/>
        </p:nvSpPr>
        <p:spPr>
          <a:xfrm>
            <a:off x="23035812" y="12450814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84687469-2704-8BA1-298B-29E309C7F263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59B8B80A-A67C-E3FF-1309-1D8BF54DDC28}"/>
              </a:ext>
            </a:extLst>
          </p:cNvPr>
          <p:cNvSpPr txBox="1"/>
          <p:nvPr/>
        </p:nvSpPr>
        <p:spPr>
          <a:xfrm>
            <a:off x="23204229" y="125838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17" name="Text">
            <a:extLst>
              <a:ext uri="{FF2B5EF4-FFF2-40B4-BE49-F238E27FC236}">
                <a16:creationId xmlns:a16="http://schemas.microsoft.com/office/drawing/2014/main" id="{8C0F4D9A-5C1C-F1E2-80D3-9ECA56224818}"/>
              </a:ext>
            </a:extLst>
          </p:cNvPr>
          <p:cNvSpPr txBox="1"/>
          <p:nvPr/>
        </p:nvSpPr>
        <p:spPr>
          <a:xfrm>
            <a:off x="23356629" y="127362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D18F8F4C-614D-F099-0099-255D49672762}"/>
              </a:ext>
            </a:extLst>
          </p:cNvPr>
          <p:cNvSpPr txBox="1"/>
          <p:nvPr/>
        </p:nvSpPr>
        <p:spPr>
          <a:xfrm>
            <a:off x="23311478" y="12656455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25" name="Abgerundetes Rechteck">
            <a:extLst>
              <a:ext uri="{FF2B5EF4-FFF2-40B4-BE49-F238E27FC236}">
                <a16:creationId xmlns:a16="http://schemas.microsoft.com/office/drawing/2014/main" id="{D86801AE-973F-7A9F-CAA1-954E024CF479}"/>
              </a:ext>
            </a:extLst>
          </p:cNvPr>
          <p:cNvSpPr/>
          <p:nvPr/>
        </p:nvSpPr>
        <p:spPr>
          <a:xfrm>
            <a:off x="23214059" y="12425812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F2C1EA2C-460A-C1BD-BCBD-9799C402BEB4}"/>
              </a:ext>
            </a:extLst>
          </p:cNvPr>
          <p:cNvSpPr txBox="1"/>
          <p:nvPr/>
        </p:nvSpPr>
        <p:spPr>
          <a:xfrm>
            <a:off x="23214059" y="12505160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802326"/>
      </p:ext>
    </p:extLst>
  </p:cSld>
  <p:clrMapOvr>
    <a:masterClrMapping/>
  </p:clrMapOvr>
  <p:transition spd="med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 (note: make agenda point that comes next white)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Recap: S3 measurement – tasks &amp; methods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431538637"/>
      </p:ext>
    </p:extLst>
  </p:cSld>
  <p:clrMapOvr>
    <a:masterClrMapping/>
  </p:clrMapOvr>
  <p:transition spd="med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lin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16843564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="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3"/>
            <a:ext cx="14074049" cy="4103687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  <a:lvl9pPr marL="4876312" indent="0">
              <a:buNone/>
              <a:defRPr/>
            </a:lvl9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5151251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721380500"/>
      </p:ext>
    </p:extLst>
  </p:cSld>
  <p:clrMapOvr>
    <a:masterClrMapping/>
  </p:clrMapOvr>
  <p:transition spd="med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1145505817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395149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out an image and no additional text.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899FACD-1758-92B9-DFA3-38DF547DA436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923897962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4924426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7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541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ig Headline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023246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 half image and not the slightest bit of copy on the side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0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E5FDB63E-EA25-3326-7BB4-17630C837E2C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3999BAE4-92C2-C158-299F-E8FDCEB02AB8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B8023D9F-99B0-6F6B-474B-CB6AE0989E38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feld 4">
            <a:extLst>
              <a:ext uri="{FF2B5EF4-FFF2-40B4-BE49-F238E27FC236}">
                <a16:creationId xmlns:a16="http://schemas.microsoft.com/office/drawing/2014/main" id="{6681633F-AAE3-309C-99AE-60D0E73CD349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602416965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ig Headline, copy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7"/>
            <a:ext cx="10232464" cy="511446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headline with image and copy block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-9605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9F1CA369-F63A-DA17-A560-CA50C3D99B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957" y="6676525"/>
            <a:ext cx="10194499" cy="6426839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0EABE19-7A4D-D6DE-4EEC-BC1E17CE5795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22450611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line and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3165502"/>
            <a:ext cx="10370117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3165502"/>
            <a:ext cx="10370116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BD0C39C1-4C61-C323-43C5-EE0D71D9ADE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571B5686-207B-9C84-51B0-BC0243BDF627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9CF5582A-483B-F5B3-89CF-0B22FB43341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E625BBDD-5D4A-93BA-6A62-65C8D0C659BB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71735AA1-7B50-C7C5-08BB-D06F379D4CBD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876272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line, sub-heading,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4949687"/>
            <a:ext cx="10370117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4949686"/>
            <a:ext cx="10370116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A226D27D-B069-A2D3-0346-886BDEB33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7540" y="3234527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FF3979DD-A4A8-FCA7-0F1B-174F1CDE5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94758" y="3234526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D8BCA6F8-60A6-CCB6-0F5C-A0B40E7979B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84A0FA40-40BA-EE66-EF3F-E8FA89A98B20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EBA3360F-6EB7-1033-5DA3-DAF46780455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980951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lin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B66027ED-C6C5-0C6C-D71B-46726BB54726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9E958F68-84AC-194A-42FF-3F5722E17229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573A8AA8-AA0E-6CDD-D31F-BB9F2FF621FA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132092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line, w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8A3E033D-78FC-3AAC-A32E-FC4176E840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2"/>
            <a:ext cx="21798920" cy="9059628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47CE2091-CF76-CA9F-3F0C-408620C60987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4AA5B8F-50DA-94AE-6839-638FA6A30844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08D9EEC8-B3BB-3D0A-FB74-3B01DF37E2E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75500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ing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0CC57B-3501-9B43-3F34-43C8F80217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17540" y="2941638"/>
            <a:ext cx="21852103" cy="8866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</a:t>
            </a:r>
            <a:r>
              <a:rPr lang="en-DE"/>
              <a:t>dd image by clicking on icon</a:t>
            </a:r>
          </a:p>
          <a:p>
            <a:endParaRPr lang="en-DE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861A4FD8-18A7-7463-986E-FADC211FF0D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BF134A4B-BE98-1E97-30FE-7F891F23E326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96931132-9643-9BD4-20B2-9FD3FC8A392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072413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only image/table/chart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FE0BD6D8-8F8A-B24D-D09E-644DDD3A476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C1CA9271-E20D-B44D-4B2E-68008AE3C3F6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54021DC1-8FC4-0B7A-BD65-1505B237B0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351996" y="1490731"/>
            <a:ext cx="21678422" cy="107345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DE"/>
              <a:t>Add image, table, chart, smart media, etc. by clicking on icons 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E39AD9B3-C311-8DB2-2A0F-1732F94106C5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3F855441-C86B-1E6A-F8A4-0590DD14662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1B38E1CA-0013-3C90-0E08-5F1DBD0C71DE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4183A1FA-AC30-99C9-2936-7F238EEFB355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165327"/>
      </p:ext>
    </p:extLst>
  </p:cSld>
  <p:clrMapOvr>
    <a:masterClrMapping/>
  </p:clrMapOvr>
  <p:transition spd="med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92840" y="-4521199"/>
            <a:ext cx="30463888" cy="21275628"/>
          </a:xfrm>
          <a:prstGeom prst="rect">
            <a:avLst/>
          </a:prstGeom>
        </p:spPr>
      </p:pic>
      <p:sp>
        <p:nvSpPr>
          <p:cNvPr id="3" name="Text">
            <a:extLst>
              <a:ext uri="{FF2B5EF4-FFF2-40B4-BE49-F238E27FC236}">
                <a16:creationId xmlns:a16="http://schemas.microsoft.com/office/drawing/2014/main" id="{DA254132-D298-6998-3CA0-46D3CDB8E84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0A63248-4014-896A-27A6-91D9BEA845A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1DF8AC5-E090-5B87-253F-3FBE9633C233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9D5C0D07-DE82-ECE7-553E-2AB62F2168A0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20323709-E75F-5A66-D25E-2DB08D6BED0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78273BC9-7DBD-23AE-50DF-F154E751E4CF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9880D694-7D7A-9333-0883-3F122DC89AD7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6381"/>
      </p:ext>
    </p:extLst>
  </p:cSld>
  <p:clrMapOvr>
    <a:masterClrMapping/>
  </p:clrMapOvr>
  <p:transition spd="med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92840" y="-4538132"/>
            <a:ext cx="30463888" cy="212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577584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028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hank+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sz="1500" baseline="0">
                <a:solidFill>
                  <a:srgbClr val="3C6DF6"/>
                </a:solidFill>
              </a:rPr>
              <a:t>‹Nr.›</a:t>
            </a:fld>
            <a:endParaRPr sz="1500" baseline="0">
              <a:solidFill>
                <a:srgbClr val="3C6DF6"/>
              </a:solidFill>
            </a:endParaRPr>
          </a:p>
        </p:txBody>
      </p:sp>
      <p:sp>
        <p:nvSpPr>
          <p:cNvPr id="8" name="ctrl+s GmbH   ◾   Lohmühlenstr. 65   ◾   12435 Berlin   ◾   Germany   ◾   +49 175 717 00 62   ◾   info@ctrl-s.io…">
            <a:extLst>
              <a:ext uri="{FF2B5EF4-FFF2-40B4-BE49-F238E27FC236}">
                <a16:creationId xmlns:a16="http://schemas.microsoft.com/office/drawing/2014/main" id="{800F3C8E-F73D-BD2C-1BD2-B4FB80C793C2}"/>
              </a:ext>
            </a:extLst>
          </p:cNvPr>
          <p:cNvSpPr txBox="1"/>
          <p:nvPr/>
        </p:nvSpPr>
        <p:spPr>
          <a:xfrm>
            <a:off x="42330" y="12643668"/>
            <a:ext cx="24382414" cy="9146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/>
          <a:lstStyle/>
          <a:p>
            <a:pPr marL="0" indent="0" defTabSz="457154">
              <a:lnSpc>
                <a:spcPct val="120000"/>
              </a:lnSpc>
              <a:buFont typeface="Arial" panose="020B0604020202020204" pitchFamily="34" charset="0"/>
              <a:buNone/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ctrl+s</a:t>
            </a:r>
            <a:r>
              <a:rPr sz="1800"/>
              <a:t> GmbH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Lohmühlenstr</a:t>
            </a:r>
            <a:r>
              <a:rPr sz="1800"/>
              <a:t>. 65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12435 Berlin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Germany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+49 </a:t>
            </a:r>
            <a:r>
              <a:rPr lang="de-DE" sz="1800"/>
              <a:t>30 2060 8611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info@ctrl-s.io</a:t>
            </a:r>
            <a:r>
              <a:rPr lang="de-DE" sz="1800"/>
              <a:t> </a:t>
            </a:r>
            <a:r>
              <a:rPr lang="de-DE" sz="2400"/>
              <a:t> </a:t>
            </a:r>
            <a:r>
              <a:rPr lang="de-DE" sz="1000" baseline="37500"/>
              <a:t>◾</a:t>
            </a:r>
            <a:r>
              <a:rPr lang="de-DE" sz="1000" baseline="20000"/>
              <a:t> </a:t>
            </a:r>
            <a:r>
              <a:rPr lang="de-DE" sz="2400" baseline="20000"/>
              <a:t>   </a:t>
            </a:r>
            <a:r>
              <a:rPr lang="de-DE" sz="1800" err="1"/>
              <a:t>www.ctrl-s.io</a:t>
            </a:r>
            <a:endParaRPr lang="de-DE" sz="1800"/>
          </a:p>
          <a:p>
            <a:pPr defTabSz="457154">
              <a:lnSpc>
                <a:spcPct val="120000"/>
              </a:lnSpc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Handelsregister</a:t>
            </a:r>
            <a:r>
              <a:rPr sz="1800"/>
              <a:t>: </a:t>
            </a:r>
            <a:r>
              <a:rPr sz="1800" err="1"/>
              <a:t>Amtsgericht</a:t>
            </a:r>
            <a:r>
              <a:rPr sz="1800"/>
              <a:t> Charlottenburg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HRB 238515 B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Geschäftsführung</a:t>
            </a:r>
            <a:r>
              <a:rPr sz="1800"/>
              <a:t>: Dr. Moritz </a:t>
            </a:r>
            <a:r>
              <a:rPr sz="1800" err="1"/>
              <a:t>Nill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Marcel </a:t>
            </a:r>
            <a:r>
              <a:rPr sz="1800" err="1"/>
              <a:t>Severith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Johannes Scholz</a:t>
            </a:r>
          </a:p>
        </p:txBody>
      </p:sp>
      <p:sp>
        <p:nvSpPr>
          <p:cNvPr id="10" name="thank+s">
            <a:extLst>
              <a:ext uri="{FF2B5EF4-FFF2-40B4-BE49-F238E27FC236}">
                <a16:creationId xmlns:a16="http://schemas.microsoft.com/office/drawing/2014/main" id="{9BB52C7B-8376-9DF8-C316-613FB0F0E3EB}"/>
              </a:ext>
            </a:extLst>
          </p:cNvPr>
          <p:cNvSpPr txBox="1"/>
          <p:nvPr/>
        </p:nvSpPr>
        <p:spPr>
          <a:xfrm>
            <a:off x="9844399" y="5881916"/>
            <a:ext cx="4726948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sz="9999" err="1">
                <a:solidFill>
                  <a:schemeClr val="tx1"/>
                </a:solidFill>
              </a:rPr>
              <a:t>thank+s</a:t>
            </a:r>
            <a:endParaRPr sz="99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071640"/>
      </p:ext>
    </p:extLst>
  </p:cSld>
  <p:clrMapOvr>
    <a:masterClrMapping/>
  </p:clrMapOvr>
  <p:transition spd="med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7455659"/>
      </p:ext>
    </p:extLst>
  </p:cSld>
  <p:clrMapOvr>
    <a:masterClrMapping/>
  </p:clrMapOvr>
  <p:transition spd="med"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genumber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">
            <a:extLst>
              <a:ext uri="{FF2B5EF4-FFF2-40B4-BE49-F238E27FC236}">
                <a16:creationId xmlns:a16="http://schemas.microsoft.com/office/drawing/2014/main" id="{CE2BF8F4-DD1B-B5E5-87E0-27FA6C71698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2" name="Abgerundetes Rechteck">
            <a:extLst>
              <a:ext uri="{FF2B5EF4-FFF2-40B4-BE49-F238E27FC236}">
                <a16:creationId xmlns:a16="http://schemas.microsoft.com/office/drawing/2014/main" id="{78450877-5706-E6F1-AD04-E5E9BD8D04C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1395B7A4-6B61-2FE4-177F-BA2F478E487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pPr/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327540"/>
      </p:ext>
    </p:extLst>
  </p:cSld>
  <p:clrMapOvr>
    <a:masterClrMapping/>
  </p:clrMapOvr>
  <p:transition spd="med"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97091" y="1380117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6" y="1026703"/>
            <a:ext cx="13439472" cy="1770472"/>
          </a:xfrm>
        </p:spPr>
        <p:txBody>
          <a:bodyPr>
            <a:noAutofit/>
          </a:bodyPr>
          <a:lstStyle>
            <a:lvl1pPr marL="0" indent="0" algn="l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09"/>
            <a:ext cx="7757352" cy="67177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DB7783D9-289C-8886-32CE-6104F2E8645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3E32B85A-A1D8-77C8-B5DB-E9278B4EEFBD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952E322-C498-6804-33F2-CB1BE740AA30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46209"/>
      </p:ext>
    </p:extLst>
  </p:cSld>
  <p:clrMapOvr>
    <a:masterClrMapping/>
  </p:clrMapOvr>
  <p:transition spd="med"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0" y="0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051829" y="124314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29B929FB-6C3B-6B13-A9A1-61388BC342C8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A87B184A-F217-1116-7C1C-8CC799BB6424}"/>
              </a:ext>
            </a:extLst>
          </p:cNvPr>
          <p:cNvSpPr txBox="1"/>
          <p:nvPr/>
        </p:nvSpPr>
        <p:spPr>
          <a:xfrm>
            <a:off x="23035812" y="12450814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84687469-2704-8BA1-298B-29E309C7F263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59B8B80A-A67C-E3FF-1309-1D8BF54DDC28}"/>
              </a:ext>
            </a:extLst>
          </p:cNvPr>
          <p:cNvSpPr txBox="1"/>
          <p:nvPr/>
        </p:nvSpPr>
        <p:spPr>
          <a:xfrm>
            <a:off x="23204229" y="125838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17" name="Text">
            <a:extLst>
              <a:ext uri="{FF2B5EF4-FFF2-40B4-BE49-F238E27FC236}">
                <a16:creationId xmlns:a16="http://schemas.microsoft.com/office/drawing/2014/main" id="{8C0F4D9A-5C1C-F1E2-80D3-9ECA56224818}"/>
              </a:ext>
            </a:extLst>
          </p:cNvPr>
          <p:cNvSpPr txBox="1"/>
          <p:nvPr/>
        </p:nvSpPr>
        <p:spPr>
          <a:xfrm>
            <a:off x="23356629" y="127362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D18F8F4C-614D-F099-0099-255D49672762}"/>
              </a:ext>
            </a:extLst>
          </p:cNvPr>
          <p:cNvSpPr txBox="1"/>
          <p:nvPr/>
        </p:nvSpPr>
        <p:spPr>
          <a:xfrm>
            <a:off x="23311478" y="12656455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25" name="Abgerundetes Rechteck">
            <a:extLst>
              <a:ext uri="{FF2B5EF4-FFF2-40B4-BE49-F238E27FC236}">
                <a16:creationId xmlns:a16="http://schemas.microsoft.com/office/drawing/2014/main" id="{D86801AE-973F-7A9F-CAA1-954E024CF479}"/>
              </a:ext>
            </a:extLst>
          </p:cNvPr>
          <p:cNvSpPr/>
          <p:nvPr/>
        </p:nvSpPr>
        <p:spPr>
          <a:xfrm>
            <a:off x="23214059" y="12425812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F2C1EA2C-460A-C1BD-BCBD-9799C402BEB4}"/>
              </a:ext>
            </a:extLst>
          </p:cNvPr>
          <p:cNvSpPr txBox="1"/>
          <p:nvPr/>
        </p:nvSpPr>
        <p:spPr>
          <a:xfrm>
            <a:off x="23214059" y="12505160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383376"/>
      </p:ext>
    </p:extLst>
  </p:cSld>
  <p:clrMapOvr>
    <a:masterClrMapping/>
  </p:clrMapOvr>
  <p:transition spd="med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 (note: make agenda point that comes next white)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Recap: S3 measurement – tasks &amp; methods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30336734"/>
      </p:ext>
    </p:extLst>
  </p:cSld>
  <p:clrMapOvr>
    <a:masterClrMapping/>
  </p:clrMapOvr>
  <p:transition spd="med"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lin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16843564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="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3"/>
            <a:ext cx="14074049" cy="4103687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  <a:lvl9pPr marL="4876312" indent="0">
              <a:buNone/>
              <a:defRPr/>
            </a:lvl9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42654421"/>
      </p:ext>
    </p:extLst>
  </p:cSld>
  <p:clrMapOvr>
    <a:masterClrMapping/>
  </p:clrMapOvr>
  <p:transition spd="med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3087251466"/>
      </p:ext>
    </p:extLst>
  </p:cSld>
  <p:clrMapOvr>
    <a:masterClrMapping/>
  </p:clrMapOvr>
  <p:transition spd="med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2404607181"/>
      </p:ext>
    </p:extLst>
  </p:cSld>
  <p:clrMapOvr>
    <a:masterClrMapping/>
  </p:clrMapOvr>
  <p:transition spd="med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395149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out an image and no additional text. </a:t>
            </a:r>
          </a:p>
        </p:txBody>
      </p:sp>
    </p:spTree>
    <p:extLst>
      <p:ext uri="{BB962C8B-B14F-4D97-AF65-F5344CB8AC3E}">
        <p14:creationId xmlns:p14="http://schemas.microsoft.com/office/powerpoint/2010/main" val="1919431243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116662" y="2469601"/>
            <a:ext cx="18430800" cy="2325046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15999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2116662" y="4794649"/>
            <a:ext cx="18430800" cy="6819502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</a:defRPr>
            </a:lvl2pPr>
            <a:lvl3pPr marL="287986" indent="-287986" algn="l">
              <a:spcAft>
                <a:spcPts val="0"/>
              </a:spcAft>
              <a:buFont typeface="Arial" panose="020B0604020202020204" pitchFamily="34" charset="0"/>
              <a:buChar char="•"/>
              <a:defRPr sz="2800" b="0"/>
            </a:lvl3pPr>
            <a:lvl4pPr marL="0" indent="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/>
            </a:lvl4pPr>
            <a:lvl5pPr marL="287986" indent="-287986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chemeClr val="tx1"/>
                </a:solidFill>
              </a:defRPr>
            </a:lvl5pPr>
            <a:lvl6pPr marL="719964" indent="-359982" algn="l">
              <a:spcAft>
                <a:spcPts val="0"/>
              </a:spcAft>
              <a:buFont typeface="Arial" panose="020B0604020202020204" pitchFamily="34" charset="0"/>
              <a:buChar char="•"/>
              <a:defRPr sz="2800"/>
            </a:lvl6pPr>
            <a:lvl7pPr marL="719964" indent="-359982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/>
            </a:lvl7pPr>
            <a:lvl8pPr marL="1079946" indent="-359982" algn="l">
              <a:spcAft>
                <a:spcPts val="0"/>
              </a:spcAft>
              <a:buFont typeface="Arial" panose="020B0604020202020204" pitchFamily="34" charset="0"/>
              <a:buChar char="•"/>
              <a:defRPr sz="2800"/>
            </a:lvl8pPr>
            <a:lvl9pPr marL="1079946" indent="-359982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8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01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ig Headline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023246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 half image and not the slightest bit of copy on the side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0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E5FDB63E-EA25-3326-7BB4-17630C837E2C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3999BAE4-92C2-C158-299F-E8FDCEB02AB8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B8023D9F-99B0-6F6B-474B-CB6AE0989E38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78369"/>
      </p:ext>
    </p:extLst>
  </p:cSld>
  <p:clrMapOvr>
    <a:masterClrMapping/>
  </p:clrMapOvr>
  <p:transition spd="med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ig Headline, copy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7"/>
            <a:ext cx="10232464" cy="511446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headline with image and copy block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-9605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9F1CA369-F63A-DA17-A560-CA50C3D99B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957" y="6676525"/>
            <a:ext cx="10194499" cy="6426839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94915314"/>
      </p:ext>
    </p:extLst>
  </p:cSld>
  <p:clrMapOvr>
    <a:masterClrMapping/>
  </p:clrMapOvr>
  <p:transition spd="med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line and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3165502"/>
            <a:ext cx="10370117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3165502"/>
            <a:ext cx="10370116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BD0C39C1-4C61-C323-43C5-EE0D71D9ADE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571B5686-207B-9C84-51B0-BC0243BDF627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9CF5582A-483B-F5B3-89CF-0B22FB43341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E625BBDD-5D4A-93BA-6A62-65C8D0C659BB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71735AA1-7B50-C7C5-08BB-D06F379D4CBD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090072"/>
      </p:ext>
    </p:extLst>
  </p:cSld>
  <p:clrMapOvr>
    <a:masterClrMapping/>
  </p:clrMapOvr>
  <p:transition spd="med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line, sub-heading,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4949687"/>
            <a:ext cx="10370117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4949686"/>
            <a:ext cx="10370116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A226D27D-B069-A2D3-0346-886BDEB33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7540" y="3234527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FF3979DD-A4A8-FCA7-0F1B-174F1CDE5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94758" y="3234526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D8BCA6F8-60A6-CCB6-0F5C-A0B40E7979B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84A0FA40-40BA-EE66-EF3F-E8FA89A98B20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EBA3360F-6EB7-1033-5DA3-DAF46780455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14858"/>
      </p:ext>
    </p:extLst>
  </p:cSld>
  <p:clrMapOvr>
    <a:masterClrMapping/>
  </p:clrMapOvr>
  <p:transition spd="med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lin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B66027ED-C6C5-0C6C-D71B-46726BB54726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9E958F68-84AC-194A-42FF-3F5722E17229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573A8AA8-AA0E-6CDD-D31F-BB9F2FF621FA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595256"/>
      </p:ext>
    </p:extLst>
  </p:cSld>
  <p:clrMapOvr>
    <a:masterClrMapping/>
  </p:clrMapOvr>
  <p:transition spd="med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line, w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8A3E033D-78FC-3AAC-A32E-FC4176E840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2"/>
            <a:ext cx="21798920" cy="9059628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47CE2091-CF76-CA9F-3F0C-408620C60987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4AA5B8F-50DA-94AE-6839-638FA6A30844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08D9EEC8-B3BB-3D0A-FB74-3B01DF37E2E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468017"/>
      </p:ext>
    </p:extLst>
  </p:cSld>
  <p:clrMapOvr>
    <a:masterClrMapping/>
  </p:clrMapOvr>
  <p:transition spd="med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ing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0CC57B-3501-9B43-3F34-43C8F80217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17540" y="2941638"/>
            <a:ext cx="21852103" cy="8866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</a:t>
            </a:r>
            <a:r>
              <a:rPr lang="en-DE"/>
              <a:t>dd image by clicking on icon</a:t>
            </a:r>
          </a:p>
          <a:p>
            <a:endParaRPr lang="en-DE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861A4FD8-18A7-7463-986E-FADC211FF0D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BF134A4B-BE98-1E97-30FE-7F891F23E326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96931132-9643-9BD4-20B2-9FD3FC8A392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223594"/>
      </p:ext>
    </p:extLst>
  </p:cSld>
  <p:clrMapOvr>
    <a:masterClrMapping/>
  </p:clrMapOvr>
  <p:transition spd="med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only image/table/chart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FE0BD6D8-8F8A-B24D-D09E-644DDD3A476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C1CA9271-E20D-B44D-4B2E-68008AE3C3F6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54021DC1-8FC4-0B7A-BD65-1505B237B0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351996" y="1490731"/>
            <a:ext cx="21678422" cy="107345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DE"/>
              <a:t>Add image, table, chart, smart media, etc. by clicking on icons 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E39AD9B3-C311-8DB2-2A0F-1732F94106C5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3F855441-C86B-1E6A-F8A4-0590DD14662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1B38E1CA-0013-3C90-0E08-5F1DBD0C71DE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4183A1FA-AC30-99C9-2936-7F238EEFB355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231227"/>
      </p:ext>
    </p:extLst>
  </p:cSld>
  <p:clrMapOvr>
    <a:masterClrMapping/>
  </p:clrMapOvr>
  <p:transition spd="med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92840" y="-4521199"/>
            <a:ext cx="30463888" cy="21275628"/>
          </a:xfrm>
          <a:prstGeom prst="rect">
            <a:avLst/>
          </a:prstGeom>
        </p:spPr>
      </p:pic>
      <p:sp>
        <p:nvSpPr>
          <p:cNvPr id="3" name="Text">
            <a:extLst>
              <a:ext uri="{FF2B5EF4-FFF2-40B4-BE49-F238E27FC236}">
                <a16:creationId xmlns:a16="http://schemas.microsoft.com/office/drawing/2014/main" id="{DA254132-D298-6998-3CA0-46D3CDB8E84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0A63248-4014-896A-27A6-91D9BEA845A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1DF8AC5-E090-5B87-253F-3FBE9633C233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9D5C0D07-DE82-ECE7-553E-2AB62F2168A0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20323709-E75F-5A66-D25E-2DB08D6BED0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78273BC9-7DBD-23AE-50DF-F154E751E4CF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9880D694-7D7A-9333-0883-3F122DC89AD7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140538"/>
      </p:ext>
    </p:extLst>
  </p:cSld>
  <p:clrMapOvr>
    <a:masterClrMapping/>
  </p:clrMapOvr>
  <p:transition spd="med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92840" y="-4538132"/>
            <a:ext cx="30463888" cy="212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2921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_BALKE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50" y="957600"/>
            <a:ext cx="17966363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21D054E4-46E6-42F4-9EF6-F9ED18F2F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9649303" y="12837600"/>
            <a:ext cx="2303850" cy="366336"/>
          </a:xfrm>
          <a:prstGeom prst="rect">
            <a:avLst/>
          </a:prstGeom>
        </p:spPr>
      </p:pic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03A2D68-D376-EC13-016F-7541DB7C04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>
          <a:xfrm>
            <a:off x="2118182" y="12621600"/>
            <a:ext cx="18430800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2263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6915">
          <p15:clr>
            <a:srgbClr val="65CEFF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hank+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sz="1500" baseline="0">
                <a:solidFill>
                  <a:srgbClr val="3C6DF6"/>
                </a:solidFill>
              </a:rPr>
              <a:t>‹Nr.›</a:t>
            </a:fld>
            <a:endParaRPr sz="1500" baseline="0">
              <a:solidFill>
                <a:srgbClr val="3C6DF6"/>
              </a:solidFill>
            </a:endParaRPr>
          </a:p>
        </p:txBody>
      </p:sp>
      <p:sp>
        <p:nvSpPr>
          <p:cNvPr id="8" name="ctrl+s GmbH   ◾   Lohmühlenstr. 65   ◾   12435 Berlin   ◾   Germany   ◾   +49 175 717 00 62   ◾   info@ctrl-s.io…">
            <a:extLst>
              <a:ext uri="{FF2B5EF4-FFF2-40B4-BE49-F238E27FC236}">
                <a16:creationId xmlns:a16="http://schemas.microsoft.com/office/drawing/2014/main" id="{800F3C8E-F73D-BD2C-1BD2-B4FB80C793C2}"/>
              </a:ext>
            </a:extLst>
          </p:cNvPr>
          <p:cNvSpPr txBox="1"/>
          <p:nvPr/>
        </p:nvSpPr>
        <p:spPr>
          <a:xfrm>
            <a:off x="42330" y="12643668"/>
            <a:ext cx="24382414" cy="9146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/>
          <a:p>
            <a:pPr marL="0" indent="0" defTabSz="457154">
              <a:lnSpc>
                <a:spcPct val="120000"/>
              </a:lnSpc>
              <a:buFont typeface="Arial" panose="020B0604020202020204" pitchFamily="34" charset="0"/>
              <a:buNone/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ctrl+s</a:t>
            </a:r>
            <a:r>
              <a:rPr sz="1800"/>
              <a:t> GmbH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Lohmühlenstr</a:t>
            </a:r>
            <a:r>
              <a:rPr sz="1800"/>
              <a:t>. 65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12435 Berlin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Germany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+49 </a:t>
            </a:r>
            <a:r>
              <a:rPr lang="de-DE" sz="1800"/>
              <a:t>30 2060 8611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info@ctrl-s.io</a:t>
            </a:r>
            <a:r>
              <a:rPr lang="de-DE" sz="1800"/>
              <a:t> </a:t>
            </a:r>
            <a:r>
              <a:rPr lang="de-DE" sz="2400"/>
              <a:t> </a:t>
            </a:r>
            <a:r>
              <a:rPr lang="de-DE" sz="1000" baseline="37500"/>
              <a:t>◾</a:t>
            </a:r>
            <a:r>
              <a:rPr lang="de-DE" sz="1000" baseline="20000"/>
              <a:t> </a:t>
            </a:r>
            <a:r>
              <a:rPr lang="de-DE" sz="2400" baseline="20000"/>
              <a:t>   </a:t>
            </a:r>
            <a:r>
              <a:rPr lang="de-DE" sz="1800" err="1"/>
              <a:t>www.ctrl-s.io</a:t>
            </a:r>
            <a:endParaRPr lang="de-DE" sz="1800"/>
          </a:p>
          <a:p>
            <a:pPr defTabSz="457154">
              <a:lnSpc>
                <a:spcPct val="120000"/>
              </a:lnSpc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Handelsregister</a:t>
            </a:r>
            <a:r>
              <a:rPr sz="1800"/>
              <a:t>: </a:t>
            </a:r>
            <a:r>
              <a:rPr sz="1800" err="1"/>
              <a:t>Amtsgericht</a:t>
            </a:r>
            <a:r>
              <a:rPr sz="1800"/>
              <a:t> Charlottenburg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HRB 238515 B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Geschäftsführung</a:t>
            </a:r>
            <a:r>
              <a:rPr sz="1800"/>
              <a:t>: Dr. Moritz </a:t>
            </a:r>
            <a:r>
              <a:rPr sz="1800" err="1"/>
              <a:t>Nill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Marcel </a:t>
            </a:r>
            <a:r>
              <a:rPr sz="1800" err="1"/>
              <a:t>Severith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Johannes Scholz</a:t>
            </a:r>
          </a:p>
        </p:txBody>
      </p:sp>
      <p:sp>
        <p:nvSpPr>
          <p:cNvPr id="10" name="thank+s">
            <a:extLst>
              <a:ext uri="{FF2B5EF4-FFF2-40B4-BE49-F238E27FC236}">
                <a16:creationId xmlns:a16="http://schemas.microsoft.com/office/drawing/2014/main" id="{9BB52C7B-8376-9DF8-C316-613FB0F0E3EB}"/>
              </a:ext>
            </a:extLst>
          </p:cNvPr>
          <p:cNvSpPr txBox="1"/>
          <p:nvPr/>
        </p:nvSpPr>
        <p:spPr>
          <a:xfrm>
            <a:off x="9844399" y="5881916"/>
            <a:ext cx="4726948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sz="9999" err="1">
                <a:solidFill>
                  <a:schemeClr val="tx1"/>
                </a:solidFill>
              </a:rPr>
              <a:t>thank+s</a:t>
            </a:r>
            <a:endParaRPr sz="99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754677"/>
      </p:ext>
    </p:extLst>
  </p:cSld>
  <p:clrMapOvr>
    <a:masterClrMapping/>
  </p:clrMapOvr>
  <p:transition spd="med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1413596"/>
      </p:ext>
    </p:extLst>
  </p:cSld>
  <p:clrMapOvr>
    <a:masterClrMapping/>
  </p:clrMapOvr>
  <p:transition spd="med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ben (kurz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23997" y="1564330"/>
            <a:ext cx="21887999" cy="2161023"/>
          </a:xfrm>
        </p:spPr>
        <p:txBody>
          <a:bodyPr lIns="72000" tIns="72000" rIns="72000" bIns="72000" anchor="t">
            <a:spAutoFit/>
          </a:bodyPr>
          <a:lstStyle>
            <a:lvl1pPr>
              <a:lnSpc>
                <a:spcPct val="114000"/>
              </a:lnSpc>
              <a:defRPr sz="6000" b="1">
                <a:latin typeface="Suisse Int'l Mono" panose="020B0509000000000000" pitchFamily="49" charset="77"/>
              </a:defRPr>
            </a:lvl1pPr>
          </a:lstStyle>
          <a:p>
            <a:r>
              <a:rPr lang="en-GB" noProof="0" err="1"/>
              <a:t>Überschrift</a:t>
            </a:r>
            <a:r>
              <a:rPr lang="en-GB" noProof="0"/>
              <a:t> der Folie –</a:t>
            </a:r>
            <a:br>
              <a:rPr lang="en-GB" noProof="0"/>
            </a:br>
            <a:r>
              <a:rPr lang="en-GB" noProof="0" err="1"/>
              <a:t>über</a:t>
            </a:r>
            <a:r>
              <a:rPr lang="en-GB" noProof="0"/>
              <a:t> bis </a:t>
            </a:r>
            <a:r>
              <a:rPr lang="en-GB" noProof="0" err="1"/>
              <a:t>zu</a:t>
            </a:r>
            <a:r>
              <a:rPr lang="en-GB" noProof="0"/>
              <a:t> </a:t>
            </a:r>
            <a:r>
              <a:rPr lang="en-GB" noProof="0" err="1"/>
              <a:t>zwei</a:t>
            </a:r>
            <a:r>
              <a:rPr lang="en-GB" noProof="0"/>
              <a:t> </a:t>
            </a:r>
            <a:r>
              <a:rPr lang="en-GB" noProof="0" err="1"/>
              <a:t>Zeilen</a:t>
            </a:r>
            <a:endParaRPr lang="en-GB" noProof="0"/>
          </a:p>
        </p:txBody>
      </p:sp>
      <p:sp>
        <p:nvSpPr>
          <p:cNvPr id="7" name="Rechteck">
            <a:extLst>
              <a:ext uri="{FF2B5EF4-FFF2-40B4-BE49-F238E27FC236}">
                <a16:creationId xmlns:a16="http://schemas.microsoft.com/office/drawing/2014/main" id="{336A9109-68BC-6312-9F0E-83E25F433826}"/>
              </a:ext>
            </a:extLst>
          </p:cNvPr>
          <p:cNvSpPr/>
          <p:nvPr/>
        </p:nvSpPr>
        <p:spPr>
          <a:xfrm>
            <a:off x="0" y="3"/>
            <a:ext cx="24382413" cy="609374"/>
          </a:xfrm>
          <a:prstGeom prst="rect">
            <a:avLst/>
          </a:prstGeom>
          <a:solidFill>
            <a:srgbClr val="8237F6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419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10" name="0">
            <a:extLst>
              <a:ext uri="{FF2B5EF4-FFF2-40B4-BE49-F238E27FC236}">
                <a16:creationId xmlns:a16="http://schemas.microsoft.com/office/drawing/2014/main" id="{B6C8E244-1013-76B4-2279-1E238B1E680F}"/>
              </a:ext>
            </a:extLst>
          </p:cNvPr>
          <p:cNvSpPr txBox="1"/>
          <p:nvPr userDrawn="1"/>
        </p:nvSpPr>
        <p:spPr>
          <a:xfrm>
            <a:off x="23211616" y="172234"/>
            <a:ext cx="572836" cy="3035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35998" tIns="35998" rIns="35998" bIns="35998" anchor="ctr">
            <a:spAutoFit/>
          </a:bodyPr>
          <a:lstStyle/>
          <a:p>
            <a:pPr algn="r" defTabSz="2438156">
              <a:defRPr sz="1500">
                <a:solidFill>
                  <a:srgbClr val="FFFFFF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pPr>
            <a:r>
              <a:rPr sz="1500">
                <a:solidFill>
                  <a:schemeClr val="bg1"/>
                </a:solidFill>
              </a:rPr>
              <a:t>0</a:t>
            </a:r>
            <a:fld id="{86CB4B4D-7CA3-9044-876B-883B54F8677D}" type="slidenum">
              <a:rPr sz="1500">
                <a:solidFill>
                  <a:schemeClr val="bg1"/>
                </a:solidFill>
              </a:rPr>
              <a:pPr algn="r" defTabSz="2438156">
                <a:defRPr sz="1500">
                  <a:solidFill>
                    <a:srgbClr val="FFFFFF"/>
                  </a:solidFill>
                  <a:latin typeface="Suisse Int'l Mono"/>
                  <a:ea typeface="Suisse Int'l Mono"/>
                  <a:cs typeface="Suisse Int'l Mono"/>
                  <a:sym typeface="Suisse Int'l Mono"/>
                </a:defRPr>
              </a:pPr>
              <a:t>‹Nr.›</a:t>
            </a:fld>
            <a:endParaRPr sz="1500">
              <a:solidFill>
                <a:schemeClr val="bg1"/>
              </a:solidFill>
            </a:endParaRPr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649E2635-9E29-CC60-A083-4349DD4E07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92800" y="183776"/>
            <a:ext cx="10080000" cy="280452"/>
          </a:xfrm>
        </p:spPr>
        <p:txBody>
          <a:bodyPr lIns="36000" tIns="36000" rIns="36000" bIns="36000" anchor="ctr">
            <a:spAutoFit/>
          </a:bodyPr>
          <a:lstStyle>
            <a:lvl1pPr marL="0" indent="0">
              <a:buNone/>
              <a:defRPr sz="1500">
                <a:solidFill>
                  <a:schemeClr val="bg1"/>
                </a:solidFill>
                <a:latin typeface="Suisse Int'l Mono" panose="020B0509000000000000" pitchFamily="49" charset="77"/>
              </a:defRPr>
            </a:lvl1pPr>
          </a:lstStyle>
          <a:p>
            <a:r>
              <a:rPr lang="de-DE"/>
              <a:t>0x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CE9C627-9949-6A8C-234B-39FA4535C12C}"/>
              </a:ext>
            </a:extLst>
          </p:cNvPr>
          <p:cNvSpPr txBox="1"/>
          <p:nvPr userDrawn="1"/>
        </p:nvSpPr>
        <p:spPr>
          <a:xfrm>
            <a:off x="386102" y="13046354"/>
            <a:ext cx="1675789" cy="541312"/>
          </a:xfrm>
          <a:prstGeom prst="rect">
            <a:avLst/>
          </a:prstGeom>
          <a:noFill/>
        </p:spPr>
        <p:txBody>
          <a:bodyPr wrap="none" lIns="143991" tIns="143991" rIns="143991" bIns="143991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en-US" sz="1400">
                <a:solidFill>
                  <a:schemeClr val="tx1"/>
                </a:solidFill>
                <a:latin typeface="Suisse Int'l Mono" panose="020B0509000000000000" pitchFamily="49" charset="77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1400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genumber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">
            <a:extLst>
              <a:ext uri="{FF2B5EF4-FFF2-40B4-BE49-F238E27FC236}">
                <a16:creationId xmlns:a16="http://schemas.microsoft.com/office/drawing/2014/main" id="{CE2BF8F4-DD1B-B5E5-87E0-27FA6C71698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2" name="Abgerundetes Rechteck">
            <a:extLst>
              <a:ext uri="{FF2B5EF4-FFF2-40B4-BE49-F238E27FC236}">
                <a16:creationId xmlns:a16="http://schemas.microsoft.com/office/drawing/2014/main" id="{78450877-5706-E6F1-AD04-E5E9BD8D04C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1395B7A4-6B61-2FE4-177F-BA2F478E487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pPr/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81593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">
            <a:extLst>
              <a:ext uri="{FF2B5EF4-FFF2-40B4-BE49-F238E27FC236}">
                <a16:creationId xmlns:a16="http://schemas.microsoft.com/office/drawing/2014/main" id="{A2418CC8-B6E5-88F1-F5AE-71B6BBA495BD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3"/>
            <a:ext cx="4685568" cy="1641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5" tIns="50795" rIns="50795" bIns="50795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10000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60"/>
            <a:ext cx="12934114" cy="6730264"/>
          </a:xfrm>
        </p:spPr>
        <p:txBody>
          <a:bodyPr>
            <a:noAutofit/>
          </a:bodyPr>
          <a:lstStyle>
            <a:lvl1pPr marL="0" indent="0" algn="l" defTabSz="9143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 Regular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60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290EED55-7C74-7F30-5C47-2519957375DB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645132EC-A4AC-3120-BC78-B590EFBF6753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012093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7091" y="1380117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6" y="1026703"/>
            <a:ext cx="13439472" cy="1770472"/>
          </a:xfrm>
        </p:spPr>
        <p:txBody>
          <a:bodyPr>
            <a:noAutofit/>
          </a:bodyPr>
          <a:lstStyle>
            <a:lvl1pPr marL="0" indent="0" algn="l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09"/>
            <a:ext cx="7757352" cy="67177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DB7783D9-289C-8886-32CE-6104F2E8645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3E32B85A-A1D8-77C8-B5DB-E9278B4EEFBD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952E322-C498-6804-33F2-CB1BE740AA30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46433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0" y="0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051829" y="124314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29B929FB-6C3B-6B13-A9A1-61388BC342C8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A87B184A-F217-1116-7C1C-8CC799BB6424}"/>
              </a:ext>
            </a:extLst>
          </p:cNvPr>
          <p:cNvSpPr txBox="1"/>
          <p:nvPr/>
        </p:nvSpPr>
        <p:spPr>
          <a:xfrm>
            <a:off x="23035812" y="12450814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84687469-2704-8BA1-298B-29E309C7F263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59B8B80A-A67C-E3FF-1309-1D8BF54DDC28}"/>
              </a:ext>
            </a:extLst>
          </p:cNvPr>
          <p:cNvSpPr txBox="1"/>
          <p:nvPr/>
        </p:nvSpPr>
        <p:spPr>
          <a:xfrm>
            <a:off x="23204229" y="125838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17" name="Text">
            <a:extLst>
              <a:ext uri="{FF2B5EF4-FFF2-40B4-BE49-F238E27FC236}">
                <a16:creationId xmlns:a16="http://schemas.microsoft.com/office/drawing/2014/main" id="{8C0F4D9A-5C1C-F1E2-80D3-9ECA56224818}"/>
              </a:ext>
            </a:extLst>
          </p:cNvPr>
          <p:cNvSpPr txBox="1"/>
          <p:nvPr/>
        </p:nvSpPr>
        <p:spPr>
          <a:xfrm>
            <a:off x="23356629" y="127362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D18F8F4C-614D-F099-0099-255D49672762}"/>
              </a:ext>
            </a:extLst>
          </p:cNvPr>
          <p:cNvSpPr txBox="1"/>
          <p:nvPr/>
        </p:nvSpPr>
        <p:spPr>
          <a:xfrm>
            <a:off x="23311478" y="12656455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25" name="Abgerundetes Rechteck">
            <a:extLst>
              <a:ext uri="{FF2B5EF4-FFF2-40B4-BE49-F238E27FC236}">
                <a16:creationId xmlns:a16="http://schemas.microsoft.com/office/drawing/2014/main" id="{D86801AE-973F-7A9F-CAA1-954E024CF479}"/>
              </a:ext>
            </a:extLst>
          </p:cNvPr>
          <p:cNvSpPr/>
          <p:nvPr/>
        </p:nvSpPr>
        <p:spPr>
          <a:xfrm>
            <a:off x="23214059" y="12425812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F2C1EA2C-460A-C1BD-BCBD-9799C402BEB4}"/>
              </a:ext>
            </a:extLst>
          </p:cNvPr>
          <p:cNvSpPr txBox="1"/>
          <p:nvPr/>
        </p:nvSpPr>
        <p:spPr>
          <a:xfrm>
            <a:off x="23214059" y="12505160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47356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 (note: make agenda point that comes next white)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Recap: S3 measurement – tasks &amp; methods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322341165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lin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16843564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="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3"/>
            <a:ext cx="14074049" cy="4103687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  <a:lvl9pPr marL="4876312" indent="0">
              <a:buNone/>
              <a:defRPr/>
            </a:lvl9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71879132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4139769164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1667819502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395149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out an image and no additional text. </a:t>
            </a:r>
          </a:p>
        </p:txBody>
      </p:sp>
    </p:spTree>
    <p:extLst>
      <p:ext uri="{BB962C8B-B14F-4D97-AF65-F5344CB8AC3E}">
        <p14:creationId xmlns:p14="http://schemas.microsoft.com/office/powerpoint/2010/main" val="3799389013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ig Headline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023246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 half image and not the slightest bit of copy on the side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0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E5FDB63E-EA25-3326-7BB4-17630C837E2C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3999BAE4-92C2-C158-299F-E8FDCEB02AB8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B8023D9F-99B0-6F6B-474B-CB6AE0989E38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66483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ig Headline, copy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7"/>
            <a:ext cx="10232464" cy="511446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headline with image and copy block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-9605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9F1CA369-F63A-DA17-A560-CA50C3D99B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957" y="6676525"/>
            <a:ext cx="10194499" cy="6426839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120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64327159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line and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3165502"/>
            <a:ext cx="10370117" cy="91779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3165502"/>
            <a:ext cx="10370116" cy="91779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120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BD0C39C1-4C61-C323-43C5-EE0D71D9ADE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571B5686-207B-9C84-51B0-BC0243BDF627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9CF5582A-483B-F5B3-89CF-0B22FB43341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E625BBDD-5D4A-93BA-6A62-65C8D0C659BB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71735AA1-7B50-C7C5-08BB-D06F379D4CBD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9830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(documenta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">
            <a:extLst>
              <a:ext uri="{FF2B5EF4-FFF2-40B4-BE49-F238E27FC236}">
                <a16:creationId xmlns:a16="http://schemas.microsoft.com/office/drawing/2014/main" id="{A2418CC8-B6E5-88F1-F5AE-71B6BBA495BD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3"/>
            <a:ext cx="4850677" cy="1641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5" tIns="50795" rIns="50795" bIns="50795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10000" noProof="0">
                <a:solidFill>
                  <a:schemeClr val="tx1"/>
                </a:solidFill>
              </a:rPr>
              <a:t>Content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60"/>
            <a:ext cx="12934114" cy="6730264"/>
          </a:xfrm>
        </p:spPr>
        <p:txBody>
          <a:bodyPr>
            <a:noAutofit/>
          </a:bodyPr>
          <a:lstStyle>
            <a:lvl1pPr marL="0" indent="0" algn="l" defTabSz="9143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 Regular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60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290EED55-7C74-7F30-5C47-2519957375DB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645132EC-A4AC-3120-BC78-B590EFBF6753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341325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line, sub-heading,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4949687"/>
            <a:ext cx="10370117" cy="7393716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120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4949686"/>
            <a:ext cx="10370116" cy="7393716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120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A226D27D-B069-A2D3-0346-886BDEB33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7540" y="3234527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FF3979DD-A4A8-FCA7-0F1B-174F1CDE5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94758" y="3234526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D8BCA6F8-60A6-CCB6-0F5C-A0B40E7979B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84A0FA40-40BA-EE66-EF3F-E8FA89A98B20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EBA3360F-6EB7-1033-5DA3-DAF46780455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6437917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lin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B66027ED-C6C5-0C6C-D71B-46726BB54726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9E958F68-84AC-194A-42FF-3F5722E17229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573A8AA8-AA0E-6CDD-D31F-BB9F2FF621FA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281894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line, w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8A3E033D-78FC-3AAC-A32E-FC4176E840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2"/>
            <a:ext cx="21798920" cy="905962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47CE2091-CF76-CA9F-3F0C-408620C60987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4AA5B8F-50DA-94AE-6839-638FA6A30844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08D9EEC8-B3BB-3D0A-FB74-3B01DF37E2E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252726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ing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0CC57B-3501-9B43-3F34-43C8F80217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17540" y="2941638"/>
            <a:ext cx="21852103" cy="8866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</a:t>
            </a:r>
            <a:r>
              <a:rPr lang="en-DE"/>
              <a:t>dd image by clicking on icon</a:t>
            </a:r>
          </a:p>
          <a:p>
            <a:endParaRPr lang="en-DE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861A4FD8-18A7-7463-986E-FADC211FF0D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BF134A4B-BE98-1E97-30FE-7F891F23E326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96931132-9643-9BD4-20B2-9FD3FC8A392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839069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only image/table/chart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FE0BD6D8-8F8A-B24D-D09E-644DDD3A476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C1CA9271-E20D-B44D-4B2E-68008AE3C3F6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54021DC1-8FC4-0B7A-BD65-1505B237B0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351996" y="1490731"/>
            <a:ext cx="21678422" cy="107345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DE"/>
              <a:t>Add image, table, chart, smart media, etc. by clicking on icons 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E39AD9B3-C311-8DB2-2A0F-1732F94106C5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3F855441-C86B-1E6A-F8A4-0590DD14662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1B38E1CA-0013-3C90-0E08-5F1DBD0C71DE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4183A1FA-AC30-99C9-2936-7F238EEFB355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371476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40" y="-4521199"/>
            <a:ext cx="30463888" cy="21275628"/>
          </a:xfrm>
          <a:prstGeom prst="rect">
            <a:avLst/>
          </a:prstGeom>
        </p:spPr>
      </p:pic>
      <p:sp>
        <p:nvSpPr>
          <p:cNvPr id="3" name="Text">
            <a:extLst>
              <a:ext uri="{FF2B5EF4-FFF2-40B4-BE49-F238E27FC236}">
                <a16:creationId xmlns:a16="http://schemas.microsoft.com/office/drawing/2014/main" id="{DA254132-D298-6998-3CA0-46D3CDB8E84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0A63248-4014-896A-27A6-91D9BEA845A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1DF8AC5-E090-5B87-253F-3FBE9633C233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9D5C0D07-DE82-ECE7-553E-2AB62F2168A0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20323709-E75F-5A66-D25E-2DB08D6BED0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78273BC9-7DBD-23AE-50DF-F154E751E4CF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9880D694-7D7A-9333-0883-3F122DC89AD7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259387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40" y="-4538132"/>
            <a:ext cx="30463888" cy="212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028621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hank+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sz="1500" baseline="0">
                <a:solidFill>
                  <a:srgbClr val="3C6DF6"/>
                </a:solidFill>
              </a:rPr>
              <a:t>‹Nr.›</a:t>
            </a:fld>
            <a:endParaRPr sz="1500" baseline="0">
              <a:solidFill>
                <a:srgbClr val="3C6DF6"/>
              </a:solidFill>
            </a:endParaRPr>
          </a:p>
        </p:txBody>
      </p:sp>
      <p:sp>
        <p:nvSpPr>
          <p:cNvPr id="8" name="ctrl+s GmbH   ◾   Lohmühlenstr. 65   ◾   12435 Berlin   ◾   Germany   ◾   +49 175 717 00 62   ◾   info@ctrl-s.io…">
            <a:extLst>
              <a:ext uri="{FF2B5EF4-FFF2-40B4-BE49-F238E27FC236}">
                <a16:creationId xmlns:a16="http://schemas.microsoft.com/office/drawing/2014/main" id="{800F3C8E-F73D-BD2C-1BD2-B4FB80C793C2}"/>
              </a:ext>
            </a:extLst>
          </p:cNvPr>
          <p:cNvSpPr txBox="1"/>
          <p:nvPr/>
        </p:nvSpPr>
        <p:spPr>
          <a:xfrm>
            <a:off x="42330" y="12643668"/>
            <a:ext cx="24382414" cy="9146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/>
          <a:p>
            <a:pPr marL="0" indent="0" defTabSz="457154">
              <a:lnSpc>
                <a:spcPct val="120000"/>
              </a:lnSpc>
              <a:buFont typeface="Arial" panose="020B0604020202020204" pitchFamily="34" charset="0"/>
              <a:buNone/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ctrl+s</a:t>
            </a:r>
            <a:r>
              <a:rPr sz="1800"/>
              <a:t> GmbH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Lohmühlenstr</a:t>
            </a:r>
            <a:r>
              <a:rPr sz="1800"/>
              <a:t>. 65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12435 Berlin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Germany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+49 </a:t>
            </a:r>
            <a:r>
              <a:rPr lang="de-DE" sz="1800"/>
              <a:t>30 2060 8611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info@ctrl-s.io</a:t>
            </a:r>
            <a:r>
              <a:rPr lang="de-DE" sz="1800"/>
              <a:t> </a:t>
            </a:r>
            <a:r>
              <a:rPr lang="de-DE" sz="2400"/>
              <a:t> </a:t>
            </a:r>
            <a:r>
              <a:rPr lang="de-DE" sz="1000" baseline="37500"/>
              <a:t>◾</a:t>
            </a:r>
            <a:r>
              <a:rPr lang="de-DE" sz="1000" baseline="20000"/>
              <a:t> </a:t>
            </a:r>
            <a:r>
              <a:rPr lang="de-DE" sz="2400" baseline="20000"/>
              <a:t>   </a:t>
            </a:r>
            <a:r>
              <a:rPr lang="de-DE" sz="1800" err="1"/>
              <a:t>www.ctrl-s.io</a:t>
            </a:r>
            <a:endParaRPr lang="de-DE" sz="1800"/>
          </a:p>
          <a:p>
            <a:pPr defTabSz="457154">
              <a:lnSpc>
                <a:spcPct val="120000"/>
              </a:lnSpc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Handelsregister</a:t>
            </a:r>
            <a:r>
              <a:rPr sz="1800"/>
              <a:t>: </a:t>
            </a:r>
            <a:r>
              <a:rPr sz="1800" err="1"/>
              <a:t>Amtsgericht</a:t>
            </a:r>
            <a:r>
              <a:rPr sz="1800"/>
              <a:t> Charlottenburg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HRB 238515 B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Geschäftsführung</a:t>
            </a:r>
            <a:r>
              <a:rPr sz="1800"/>
              <a:t>: Dr. Moritz </a:t>
            </a:r>
            <a:r>
              <a:rPr sz="1800" err="1"/>
              <a:t>Nill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Marcel </a:t>
            </a:r>
            <a:r>
              <a:rPr sz="1800" err="1"/>
              <a:t>Severith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Johannes Scholz</a:t>
            </a:r>
          </a:p>
        </p:txBody>
      </p:sp>
      <p:sp>
        <p:nvSpPr>
          <p:cNvPr id="10" name="thank+s">
            <a:extLst>
              <a:ext uri="{FF2B5EF4-FFF2-40B4-BE49-F238E27FC236}">
                <a16:creationId xmlns:a16="http://schemas.microsoft.com/office/drawing/2014/main" id="{9BB52C7B-8376-9DF8-C316-613FB0F0E3EB}"/>
              </a:ext>
            </a:extLst>
          </p:cNvPr>
          <p:cNvSpPr txBox="1"/>
          <p:nvPr/>
        </p:nvSpPr>
        <p:spPr>
          <a:xfrm>
            <a:off x="9844399" y="5881916"/>
            <a:ext cx="4726948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sz="9999" err="1">
                <a:solidFill>
                  <a:schemeClr val="tx1"/>
                </a:solidFill>
              </a:rPr>
              <a:t>thank+s</a:t>
            </a:r>
            <a:endParaRPr sz="99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80618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_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8" y="957600"/>
            <a:ext cx="17966363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21D054E4-46E6-42F4-9EF6-F9ED18F2F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1401789" y="12837600"/>
            <a:ext cx="2303850" cy="3663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4773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6">
          <p15:clr>
            <a:srgbClr val="65CEFF"/>
          </p15:clr>
        </p15:guide>
        <p15:guide id="19" pos="6915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l" defTabSz="48764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60604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lin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8"/>
            <a:ext cx="16843564" cy="14331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="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1" y="3165504"/>
            <a:ext cx="14074050" cy="410368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  <a:lvl9pPr marL="4876068" indent="0">
              <a:buNone/>
              <a:defRPr/>
            </a:lvl9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6" name="Abgerundetes Rechteck">
            <a:extLst>
              <a:ext uri="{FF2B5EF4-FFF2-40B4-BE49-F238E27FC236}">
                <a16:creationId xmlns:a16="http://schemas.microsoft.com/office/drawing/2014/main" id="{6C79000D-6E96-187E-1D94-E5C470E61B36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0B7C4BAF-04A6-6005-5B11-3648E434EC30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240987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genumber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">
            <a:extLst>
              <a:ext uri="{FF2B5EF4-FFF2-40B4-BE49-F238E27FC236}">
                <a16:creationId xmlns:a16="http://schemas.microsoft.com/office/drawing/2014/main" id="{CE2BF8F4-DD1B-B5E5-87E0-27FA6C71698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2" name="Abgerundetes Rechteck">
            <a:extLst>
              <a:ext uri="{FF2B5EF4-FFF2-40B4-BE49-F238E27FC236}">
                <a16:creationId xmlns:a16="http://schemas.microsoft.com/office/drawing/2014/main" id="{78450877-5706-E6F1-AD04-E5E9BD8D04C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1395B7A4-6B61-2FE4-177F-BA2F478E487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861760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9F2154D7-F337-C96D-8E81-BB02CEF176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7091" y="1380117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60256D88-43E0-1A55-77A1-95958FD78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316" y="1026703"/>
            <a:ext cx="13439472" cy="1770472"/>
          </a:xfrm>
        </p:spPr>
        <p:txBody>
          <a:bodyPr>
            <a:noAutofit/>
          </a:bodyPr>
          <a:lstStyle>
            <a:lvl1pPr marL="0" indent="0" algn="l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We talk </a:t>
            </a:r>
            <a:r>
              <a:rPr lang="en-US" noProof="0" err="1"/>
              <a:t>number+s</a:t>
            </a:r>
            <a:endParaRPr lang="en-US" noProof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BC312273-CD79-D7EB-73D2-4C73DDE5B0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398" y="12353409"/>
            <a:ext cx="7757352" cy="67177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200" baseline="0">
                <a:latin typeface="Aeonik Regular" panose="020B0503030300000000" pitchFamily="34" charset="0"/>
              </a:defRPr>
            </a:lvl1pPr>
          </a:lstStyle>
          <a:p>
            <a:r>
              <a:rPr lang="en-US" noProof="0"/>
              <a:t>March 1, 2023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DB7783D9-289C-8886-32CE-6104F2E8645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3E32B85A-A1D8-77C8-B5DB-E9278B4EEFBD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7952E322-C498-6804-33F2-CB1BE740AA30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186131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0" y="0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051829" y="124314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Make agenda topic that comes next white 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29B929FB-6C3B-6B13-A9A1-61388BC342C8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A87B184A-F217-1116-7C1C-8CC799BB6424}"/>
              </a:ext>
            </a:extLst>
          </p:cNvPr>
          <p:cNvSpPr txBox="1"/>
          <p:nvPr/>
        </p:nvSpPr>
        <p:spPr>
          <a:xfrm>
            <a:off x="23035812" y="12450814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84687469-2704-8BA1-298B-29E309C7F263}"/>
              </a:ext>
            </a:extLst>
          </p:cNvPr>
          <p:cNvSpPr txBox="1"/>
          <p:nvPr/>
        </p:nvSpPr>
        <p:spPr>
          <a:xfrm>
            <a:off x="23301648" y="12735116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59B8B80A-A67C-E3FF-1309-1D8BF54DDC28}"/>
              </a:ext>
            </a:extLst>
          </p:cNvPr>
          <p:cNvSpPr txBox="1"/>
          <p:nvPr/>
        </p:nvSpPr>
        <p:spPr>
          <a:xfrm>
            <a:off x="23204229" y="125838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17" name="Text">
            <a:extLst>
              <a:ext uri="{FF2B5EF4-FFF2-40B4-BE49-F238E27FC236}">
                <a16:creationId xmlns:a16="http://schemas.microsoft.com/office/drawing/2014/main" id="{8C0F4D9A-5C1C-F1E2-80D3-9ECA56224818}"/>
              </a:ext>
            </a:extLst>
          </p:cNvPr>
          <p:cNvSpPr txBox="1"/>
          <p:nvPr/>
        </p:nvSpPr>
        <p:spPr>
          <a:xfrm>
            <a:off x="23356629" y="12736221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D18F8F4C-614D-F099-0099-255D49672762}"/>
              </a:ext>
            </a:extLst>
          </p:cNvPr>
          <p:cNvSpPr txBox="1"/>
          <p:nvPr/>
        </p:nvSpPr>
        <p:spPr>
          <a:xfrm>
            <a:off x="23311478" y="12656455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25" name="Abgerundetes Rechteck">
            <a:extLst>
              <a:ext uri="{FF2B5EF4-FFF2-40B4-BE49-F238E27FC236}">
                <a16:creationId xmlns:a16="http://schemas.microsoft.com/office/drawing/2014/main" id="{D86801AE-973F-7A9F-CAA1-954E024CF479}"/>
              </a:ext>
            </a:extLst>
          </p:cNvPr>
          <p:cNvSpPr/>
          <p:nvPr/>
        </p:nvSpPr>
        <p:spPr>
          <a:xfrm>
            <a:off x="23214059" y="12425812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F2C1EA2C-460A-C1BD-BCBD-9799C402BEB4}"/>
              </a:ext>
            </a:extLst>
          </p:cNvPr>
          <p:cNvSpPr txBox="1"/>
          <p:nvPr/>
        </p:nvSpPr>
        <p:spPr>
          <a:xfrm>
            <a:off x="23214059" y="12505160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78262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5" name="Agenda">
            <a:extLst>
              <a:ext uri="{FF2B5EF4-FFF2-40B4-BE49-F238E27FC236}">
                <a16:creationId xmlns:a16="http://schemas.microsoft.com/office/drawing/2014/main" id="{B719D93C-0407-2CC6-A86D-30F84E4C51C4}"/>
              </a:ext>
            </a:extLst>
          </p:cNvPr>
          <p:cNvSpPr txBox="1"/>
          <p:nvPr/>
        </p:nvSpPr>
        <p:spPr>
          <a:xfrm>
            <a:off x="1278383" y="3743391"/>
            <a:ext cx="4650009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lang="en-US" sz="9999" noProof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961523FB-2FDC-3E36-3CE3-D3ABC0B3F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44605" y="4036059"/>
            <a:ext cx="12934114" cy="6730264"/>
          </a:xfrm>
        </p:spPr>
        <p:txBody>
          <a:bodyPr>
            <a:noAutofit/>
          </a:bodyPr>
          <a:lstStyle>
            <a:lvl1pPr marL="0" indent="0" algn="l" defTabSz="457154">
              <a:lnSpc>
                <a:spcPct val="160000"/>
              </a:lnSpc>
              <a:spcBef>
                <a:spcPts val="0"/>
              </a:spcBef>
              <a:buNone/>
              <a:defRPr sz="3000" b="0" i="0" baseline="0">
                <a:solidFill>
                  <a:srgbClr val="000000"/>
                </a:solidFill>
                <a:latin typeface="Aeonik" panose="020B0503030300000000" pitchFamily="34" charset="0"/>
                <a:sym typeface="Aeonik Regular"/>
              </a:defRPr>
            </a:lvl1pPr>
          </a:lstStyle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Introduction: Who is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? (note: make agenda point that comes next white)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Recap: S3 measurement – tasks &amp; methods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matt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setting the base with second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supplier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: adding relevant supplier primary data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Summary: Take the short cut</a:t>
            </a:r>
          </a:p>
          <a:p>
            <a:pPr algn="l" defTabSz="457200">
              <a:lnSpc>
                <a:spcPct val="160000"/>
              </a:lnSpc>
              <a:defRPr sz="30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Outlook: How EY and </a:t>
            </a:r>
            <a:r>
              <a:rPr lang="en-US" noProof="0" err="1">
                <a:latin typeface="Aeonik Light"/>
                <a:ea typeface="Aeonik Light"/>
                <a:cs typeface="Aeonik Light"/>
                <a:sym typeface="Aeonik Light"/>
              </a:rPr>
              <a:t>ctrl+s</a:t>
            </a:r>
            <a:r>
              <a:rPr lang="en-US" noProof="0">
                <a:latin typeface="Aeonik Light"/>
                <a:ea typeface="Aeonik Light"/>
                <a:cs typeface="Aeonik Light"/>
                <a:sym typeface="Aeonik Light"/>
              </a:rPr>
              <a:t> can partner up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4DBF93B-4EFE-D5A7-DC7F-6F7A71CC82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5568" y="4036059"/>
            <a:ext cx="267799" cy="6730264"/>
          </a:xfrm>
        </p:spPr>
        <p:txBody>
          <a:bodyPr>
            <a:normAutofit/>
          </a:bodyPr>
          <a:lstStyle>
            <a:lvl1pPr marL="0" indent="0" algn="l">
              <a:lnSpc>
                <a:spcPct val="160000"/>
              </a:lnSpc>
              <a:spcBef>
                <a:spcPts val="0"/>
              </a:spcBef>
              <a:buNone/>
              <a:defRPr sz="3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1</a:t>
            </a:r>
          </a:p>
          <a:p>
            <a:pPr lvl="0"/>
            <a:r>
              <a:rPr lang="en-US" noProof="0"/>
              <a:t>2</a:t>
            </a:r>
          </a:p>
          <a:p>
            <a:pPr lvl="0"/>
            <a:r>
              <a:rPr lang="en-US" noProof="0"/>
              <a:t>3</a:t>
            </a:r>
          </a:p>
          <a:p>
            <a:pPr lvl="0"/>
            <a:r>
              <a:rPr lang="en-US" noProof="0"/>
              <a:t>4</a:t>
            </a:r>
          </a:p>
          <a:p>
            <a:pPr lvl="0"/>
            <a:r>
              <a:rPr lang="en-US" noProof="0"/>
              <a:t>5</a:t>
            </a:r>
          </a:p>
          <a:p>
            <a:pPr lvl="0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36706822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lin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16843564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="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3"/>
            <a:ext cx="14074049" cy="4103687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  <a:lvl9pPr marL="4876312" indent="0">
              <a:buNone/>
              <a:defRPr/>
            </a:lvl9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423882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9050">
            <a:noFill/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baseline="0" noProof="0" smtClean="0">
                <a:solidFill>
                  <a:schemeClr val="bg1"/>
                </a:solidFill>
              </a:rPr>
              <a:t>‹Nr.›</a:t>
            </a:fld>
            <a:endParaRPr lang="en-US" sz="2500" baseline="0" noProof="0">
              <a:solidFill>
                <a:schemeClr val="bg1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2102984861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,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1500" noProof="0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3" y="5766285"/>
            <a:ext cx="12663126" cy="1770472"/>
          </a:xfrm>
        </p:spPr>
        <p:txBody>
          <a:bodyPr>
            <a:noAutofit/>
          </a:bodyPr>
          <a:lstStyle>
            <a:lvl1pPr marL="0" indent="0" algn="ctr" fontAlgn="ctr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1069674211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395149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out an image and no additional text.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85FC264-4732-4153-3041-42D8CE4E67F7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85600919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ig Headline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8"/>
            <a:ext cx="10232464" cy="1198994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 half image and not the slightest bit of copy on the side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0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E5FDB63E-EA25-3326-7BB4-17630C837E2C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3999BAE4-92C2-C158-299F-E8FDCEB02AB8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B8023D9F-99B0-6F6B-474B-CB6AE0989E38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feld 4">
            <a:extLst>
              <a:ext uri="{FF2B5EF4-FFF2-40B4-BE49-F238E27FC236}">
                <a16:creationId xmlns:a16="http://schemas.microsoft.com/office/drawing/2014/main" id="{C3E3AAE9-F3C0-F8BF-7AA8-D42C63199722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43986861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ig Headline, copy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578CEDE5-FD4D-E82C-179D-7951FA315160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A7C9EE3-ECBF-5B12-0635-8C956351C811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961867"/>
            <a:ext cx="10232464" cy="511446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999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headline with image and copy block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-9605"/>
            <a:ext cx="12141297" cy="10953963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9F1CA369-F63A-DA17-A560-CA50C3D99B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957" y="6676525"/>
            <a:ext cx="10194499" cy="6426839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B1F3A2A-C369-D893-78BA-150B72527061}"/>
              </a:ext>
            </a:extLst>
          </p:cNvPr>
          <p:cNvSpPr txBox="1"/>
          <p:nvPr userDrawn="1"/>
        </p:nvSpPr>
        <p:spPr>
          <a:xfrm>
            <a:off x="20301717" y="12719949"/>
            <a:ext cx="1905503" cy="323788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>
              <a:lnSpc>
                <a:spcPct val="130000"/>
              </a:lnSpc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  <a:latin typeface="Aeonik" panose="020B0503030300000000" pitchFamily="34" charset="0"/>
              </a:rPr>
              <a:t>Confidential,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68091645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0" y="-8468"/>
            <a:ext cx="24467073" cy="13732936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8" name="Abgerundetes Rechteck">
            <a:extLst>
              <a:ext uri="{FF2B5EF4-FFF2-40B4-BE49-F238E27FC236}">
                <a16:creationId xmlns:a16="http://schemas.microsoft.com/office/drawing/2014/main" id="{7A1ED4AC-49CD-9DDB-7B2E-27F5736D382F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3C36A904-A677-72C0-2320-690605DD7D97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bg1"/>
                </a:solidFill>
              </a:rPr>
              <a:t>‹Nr.›</a:t>
            </a:fld>
            <a:endParaRPr lang="en-US" sz="2500" noProof="0">
              <a:solidFill>
                <a:schemeClr val="bg1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E4557BF-F754-2E64-EC8B-D131E13E8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59644" y="5766286"/>
            <a:ext cx="12663126" cy="1770472"/>
          </a:xfrm>
        </p:spPr>
        <p:txBody>
          <a:bodyPr anchor="ctr">
            <a:noAutofit/>
          </a:bodyPr>
          <a:lstStyle>
            <a:lvl1pPr marL="0" indent="0" algn="ctr" fontAlgn="ctr">
              <a:lnSpc>
                <a:spcPct val="100000"/>
              </a:lnSpc>
              <a:spcBef>
                <a:spcPts val="0"/>
              </a:spcBef>
              <a:buNone/>
              <a:defRPr sz="10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divider</a:t>
            </a:r>
          </a:p>
        </p:txBody>
      </p:sp>
    </p:spTree>
    <p:extLst>
      <p:ext uri="{BB962C8B-B14F-4D97-AF65-F5344CB8AC3E}">
        <p14:creationId xmlns:p14="http://schemas.microsoft.com/office/powerpoint/2010/main" val="3750531059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line and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3165502"/>
            <a:ext cx="10370117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3165502"/>
            <a:ext cx="10370116" cy="9177900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BD0C39C1-4C61-C323-43C5-EE0D71D9ADE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571B5686-207B-9C84-51B0-BC0243BDF627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9CF5582A-483B-F5B3-89CF-0B22FB43341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E625BBDD-5D4A-93BA-6A62-65C8D0C659BB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71735AA1-7B50-C7C5-08BB-D06F379D4CBD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016659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line, sub-heading, 2x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1" y="1168347"/>
            <a:ext cx="21746882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A7516015-269E-7BDF-AD0C-85237FF10B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39" y="4949687"/>
            <a:ext cx="10370117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Textplatzhalter 20">
            <a:extLst>
              <a:ext uri="{FF2B5EF4-FFF2-40B4-BE49-F238E27FC236}">
                <a16:creationId xmlns:a16="http://schemas.microsoft.com/office/drawing/2014/main" id="{2918940D-0538-9802-BA38-1507330F7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94758" y="4949686"/>
            <a:ext cx="10370116" cy="7393716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A226D27D-B069-A2D3-0346-886BDEB33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7540" y="3234527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FF3979DD-A4A8-FCA7-0F1B-174F1CDE5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94758" y="3234526"/>
            <a:ext cx="10370117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</a:t>
            </a:r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D8BCA6F8-60A6-CCB6-0F5C-A0B40E7979B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84A0FA40-40BA-EE66-EF3F-E8FA89A98B20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EBA3360F-6EB7-1033-5DA3-DAF46780455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150408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lin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B66027ED-C6C5-0C6C-D71B-46726BB54726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9E958F68-84AC-194A-42FF-3F5722E17229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573A8AA8-AA0E-6CDD-D31F-BB9F2FF621FA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765507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line, w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8A3E033D-78FC-3AAC-A32E-FC4176E840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7540" y="3165502"/>
            <a:ext cx="21798920" cy="9059628"/>
          </a:xfrm>
        </p:spPr>
        <p:txBody>
          <a:bodyPr>
            <a:noAutofit/>
          </a:bodyPr>
          <a:lstStyle>
            <a:lvl1pPr marL="0" indent="0">
              <a:lnSpc>
                <a:spcPct val="160000"/>
              </a:lnSpc>
              <a:spcBef>
                <a:spcPts val="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47CE2091-CF76-CA9F-3F0C-408620C60987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44AA5B8F-50DA-94AE-6839-638FA6A30844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08D9EEC8-B3BB-3D0A-FB74-3B01DF37E2E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8316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ing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3260659-41DA-F28E-7FE2-12C63B3AF5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2" y="1168347"/>
            <a:ext cx="21798920" cy="1433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 baseline="0">
                <a:latin typeface="Aeonik Medium" panose="020B0503030300000000" pitchFamily="34" charset="0"/>
              </a:defRPr>
            </a:lvl1pPr>
          </a:lstStyle>
          <a:p>
            <a:pPr lvl="0"/>
            <a:r>
              <a:rPr lang="en-US" noProof="0"/>
              <a:t>Recap I: To measure S3 emissions, multiply product activity data with a suitable emission factor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0CC57B-3501-9B43-3F34-43C8F80217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17540" y="2941638"/>
            <a:ext cx="21852103" cy="8866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</a:t>
            </a:r>
            <a:r>
              <a:rPr lang="en-DE"/>
              <a:t>dd image by clicking on icon</a:t>
            </a:r>
          </a:p>
          <a:p>
            <a:endParaRPr lang="en-DE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861A4FD8-18A7-7463-986E-FADC211FF0DB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BF134A4B-BE98-1E97-30FE-7F891F23E326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96931132-9643-9BD4-20B2-9FD3FC8A392C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569560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only image/table/chart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">
            <a:extLst>
              <a:ext uri="{FF2B5EF4-FFF2-40B4-BE49-F238E27FC236}">
                <a16:creationId xmlns:a16="http://schemas.microsoft.com/office/drawing/2014/main" id="{FE0BD6D8-8F8A-B24D-D09E-644DDD3A476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C1CA9271-E20D-B44D-4B2E-68008AE3C3F6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54021DC1-8FC4-0B7A-BD65-1505B237B0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351996" y="1490731"/>
            <a:ext cx="21678422" cy="107345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DE"/>
              <a:t>Add image, table, chart, smart media, etc. by clicking on icons 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E39AD9B3-C311-8DB2-2A0F-1732F94106C5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3F855441-C86B-1E6A-F8A4-0590DD146625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1B38E1CA-0013-3C90-0E08-5F1DBD0C71DE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4183A1FA-AC30-99C9-2936-7F238EEFB355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96743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40" y="-4521199"/>
            <a:ext cx="30463888" cy="21275628"/>
          </a:xfrm>
          <a:prstGeom prst="rect">
            <a:avLst/>
          </a:prstGeom>
        </p:spPr>
      </p:pic>
      <p:sp>
        <p:nvSpPr>
          <p:cNvPr id="3" name="Text">
            <a:extLst>
              <a:ext uri="{FF2B5EF4-FFF2-40B4-BE49-F238E27FC236}">
                <a16:creationId xmlns:a16="http://schemas.microsoft.com/office/drawing/2014/main" id="{DA254132-D298-6998-3CA0-46D3CDB8E848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0A63248-4014-896A-27A6-91D9BEA845AA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1DF8AC5-E090-5B87-253F-3FBE9633C233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9D5C0D07-DE82-ECE7-553E-2AB62F2168A0}"/>
              </a:ext>
            </a:extLst>
          </p:cNvPr>
          <p:cNvSpPr txBox="1"/>
          <p:nvPr/>
        </p:nvSpPr>
        <p:spPr>
          <a:xfrm>
            <a:off x="23001400" y="1241640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endParaRPr lang="en-US" sz="2500" noProof="0">
              <a:solidFill>
                <a:schemeClr val="tx1"/>
              </a:solidFill>
            </a:endParaRP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20323709-E75F-5A66-D25E-2DB08D6BED0D}"/>
              </a:ext>
            </a:extLst>
          </p:cNvPr>
          <p:cNvSpPr txBox="1"/>
          <p:nvPr/>
        </p:nvSpPr>
        <p:spPr>
          <a:xfrm>
            <a:off x="23267236" y="12700704"/>
            <a:ext cx="475929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1500" noProof="0" smtClean="0"/>
              <a:t>‹Nr.›</a:t>
            </a:fld>
            <a:endParaRPr lang="en-US" sz="1500" noProof="0"/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78273BC9-7DBD-23AE-50DF-F154E751E4CF}"/>
              </a:ext>
            </a:extLst>
          </p:cNvPr>
          <p:cNvSpPr/>
          <p:nvPr/>
        </p:nvSpPr>
        <p:spPr>
          <a:xfrm>
            <a:off x="23169817" y="12470061"/>
            <a:ext cx="633262" cy="633303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9880D694-7D7A-9333-0883-3F122DC89AD7}"/>
              </a:ext>
            </a:extLst>
          </p:cNvPr>
          <p:cNvSpPr txBox="1"/>
          <p:nvPr/>
        </p:nvSpPr>
        <p:spPr>
          <a:xfrm>
            <a:off x="23169817" y="12549409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07935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grid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9270266E-ED59-E9D9-2D0C-9A4F777DE0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92840" y="-4538132"/>
            <a:ext cx="30463888" cy="212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081894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hank+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6703EDC2-F8BA-93E3-FC5D-5B9B176EA1AF}"/>
              </a:ext>
            </a:extLst>
          </p:cNvPr>
          <p:cNvSpPr/>
          <p:nvPr/>
        </p:nvSpPr>
        <p:spPr>
          <a:xfrm>
            <a:off x="-42331" y="-8467"/>
            <a:ext cx="24467074" cy="13732935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defTabSz="825417"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19AEB873-3974-3DA2-766A-4BCD9F301DCB}"/>
              </a:ext>
            </a:extLst>
          </p:cNvPr>
          <p:cNvSpPr txBox="1"/>
          <p:nvPr/>
        </p:nvSpPr>
        <p:spPr>
          <a:xfrm>
            <a:off x="23169817" y="12626350"/>
            <a:ext cx="633262" cy="333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sz="1500" baseline="0">
                <a:solidFill>
                  <a:srgbClr val="3C6DF6"/>
                </a:solidFill>
              </a:rPr>
              <a:t>‹Nr.›</a:t>
            </a:fld>
            <a:endParaRPr sz="1500" baseline="0">
              <a:solidFill>
                <a:srgbClr val="3C6DF6"/>
              </a:solidFill>
            </a:endParaRPr>
          </a:p>
        </p:txBody>
      </p:sp>
      <p:sp>
        <p:nvSpPr>
          <p:cNvPr id="8" name="ctrl+s GmbH   ◾   Lohmühlenstr. 65   ◾   12435 Berlin   ◾   Germany   ◾   +49 175 717 00 62   ◾   info@ctrl-s.io…">
            <a:extLst>
              <a:ext uri="{FF2B5EF4-FFF2-40B4-BE49-F238E27FC236}">
                <a16:creationId xmlns:a16="http://schemas.microsoft.com/office/drawing/2014/main" id="{800F3C8E-F73D-BD2C-1BD2-B4FB80C793C2}"/>
              </a:ext>
            </a:extLst>
          </p:cNvPr>
          <p:cNvSpPr txBox="1"/>
          <p:nvPr/>
        </p:nvSpPr>
        <p:spPr>
          <a:xfrm>
            <a:off x="42330" y="12643668"/>
            <a:ext cx="24382414" cy="9146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/>
          <a:p>
            <a:pPr marL="0" indent="0" defTabSz="457154">
              <a:lnSpc>
                <a:spcPct val="120000"/>
              </a:lnSpc>
              <a:buFont typeface="Arial" panose="020B0604020202020204" pitchFamily="34" charset="0"/>
              <a:buNone/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ctrl+s</a:t>
            </a:r>
            <a:r>
              <a:rPr sz="1800"/>
              <a:t> GmbH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Lohmühlenstr</a:t>
            </a:r>
            <a:r>
              <a:rPr sz="1800"/>
              <a:t>. 65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12435 Berlin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Germany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+49 </a:t>
            </a:r>
            <a:r>
              <a:rPr lang="de-DE" sz="1800"/>
              <a:t>30 2060 8611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info@ctrl-s.io</a:t>
            </a:r>
            <a:r>
              <a:rPr lang="de-DE" sz="1800"/>
              <a:t> </a:t>
            </a:r>
            <a:r>
              <a:rPr lang="de-DE" sz="2400"/>
              <a:t> </a:t>
            </a:r>
            <a:r>
              <a:rPr lang="de-DE" sz="1000" baseline="37500"/>
              <a:t>◾</a:t>
            </a:r>
            <a:r>
              <a:rPr lang="de-DE" sz="1000" baseline="20000"/>
              <a:t> </a:t>
            </a:r>
            <a:r>
              <a:rPr lang="de-DE" sz="2400" baseline="20000"/>
              <a:t>   </a:t>
            </a:r>
            <a:r>
              <a:rPr lang="de-DE" sz="1800" err="1"/>
              <a:t>www.ctrl-s.io</a:t>
            </a:r>
            <a:endParaRPr lang="de-DE" sz="1800"/>
          </a:p>
          <a:p>
            <a:pPr defTabSz="457154">
              <a:lnSpc>
                <a:spcPct val="120000"/>
              </a:lnSpc>
              <a:defRPr sz="1500">
                <a:solidFill>
                  <a:srgbClr val="000000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pPr>
            <a:r>
              <a:rPr sz="1800" err="1"/>
              <a:t>Handelsregister</a:t>
            </a:r>
            <a:r>
              <a:rPr sz="1800"/>
              <a:t>: </a:t>
            </a:r>
            <a:r>
              <a:rPr sz="1800" err="1"/>
              <a:t>Amtsgericht</a:t>
            </a:r>
            <a:r>
              <a:rPr sz="1800"/>
              <a:t> Charlottenburg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HRB 238515 B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 err="1"/>
              <a:t>Geschäftsführung</a:t>
            </a:r>
            <a:r>
              <a:rPr sz="1800"/>
              <a:t>: Dr. Moritz </a:t>
            </a:r>
            <a:r>
              <a:rPr sz="1800" err="1"/>
              <a:t>Nill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Marcel </a:t>
            </a:r>
            <a:r>
              <a:rPr sz="1800" err="1"/>
              <a:t>Severith</a:t>
            </a:r>
            <a:r>
              <a:rPr sz="1800"/>
              <a:t>   </a:t>
            </a:r>
            <a:r>
              <a:rPr sz="1000" baseline="37500"/>
              <a:t>◾</a:t>
            </a:r>
            <a:r>
              <a:rPr sz="1800" baseline="20000"/>
              <a:t>   </a:t>
            </a:r>
            <a:r>
              <a:rPr sz="1800"/>
              <a:t>Johannes Scholz</a:t>
            </a:r>
          </a:p>
        </p:txBody>
      </p:sp>
      <p:sp>
        <p:nvSpPr>
          <p:cNvPr id="10" name="thank+s">
            <a:extLst>
              <a:ext uri="{FF2B5EF4-FFF2-40B4-BE49-F238E27FC236}">
                <a16:creationId xmlns:a16="http://schemas.microsoft.com/office/drawing/2014/main" id="{9BB52C7B-8376-9DF8-C316-613FB0F0E3EB}"/>
              </a:ext>
            </a:extLst>
          </p:cNvPr>
          <p:cNvSpPr txBox="1"/>
          <p:nvPr/>
        </p:nvSpPr>
        <p:spPr>
          <a:xfrm>
            <a:off x="9844399" y="5881916"/>
            <a:ext cx="4726948" cy="1641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r>
              <a:rPr sz="9999" err="1">
                <a:solidFill>
                  <a:schemeClr val="tx1"/>
                </a:solidFill>
              </a:rPr>
              <a:t>thank+s</a:t>
            </a:r>
            <a:endParaRPr sz="99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19676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1F636B-C90A-FE32-5501-36B46979C0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118182" y="12621600"/>
            <a:ext cx="18430800" cy="1094400"/>
          </a:xfrm>
        </p:spPr>
        <p:txBody>
          <a:bodyPr/>
          <a:lstStyle/>
          <a:p>
            <a:r>
              <a:rPr lang="en-US"/>
              <a:t>© Siemens 2023 | DI FA MF PCF | </a:t>
            </a:r>
            <a:r>
              <a:rPr lang="en-US" err="1"/>
              <a:t>siemens.com</a:t>
            </a:r>
            <a:r>
              <a:rPr lang="en-US"/>
              <a:t>/SiGREEN</a:t>
            </a:r>
          </a:p>
        </p:txBody>
      </p:sp>
    </p:spTree>
    <p:extLst>
      <p:ext uri="{BB962C8B-B14F-4D97-AF65-F5344CB8AC3E}">
        <p14:creationId xmlns:p14="http://schemas.microsoft.com/office/powerpoint/2010/main" val="2878086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961869"/>
            <a:ext cx="13951494" cy="119899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out an image and no additional text. </a:t>
            </a:r>
          </a:p>
        </p:txBody>
      </p:sp>
      <p:sp>
        <p:nvSpPr>
          <p:cNvPr id="9" name="Abgerundetes Rechteck">
            <a:extLst>
              <a:ext uri="{FF2B5EF4-FFF2-40B4-BE49-F238E27FC236}">
                <a16:creationId xmlns:a16="http://schemas.microsoft.com/office/drawing/2014/main" id="{7C21A112-58BC-0E3F-E815-9BEFF39174E5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94DF943B-1BE6-F903-42AB-1B17C5EA8248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460523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Confidential © Siemens 2024 | Joint approach: ctrl+s and Siemens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3" name="Grafik 2" descr="Ein Bild, das Logo, Symbol, Schrift, Zahl enthält.&#10;&#10;Automatisch generierte Beschreibung">
            <a:extLst>
              <a:ext uri="{FF2B5EF4-FFF2-40B4-BE49-F238E27FC236}">
                <a16:creationId xmlns:a16="http://schemas.microsoft.com/office/drawing/2014/main" id="{2A14334C-3031-2FD3-A687-D83FCD055A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73813" y="12749709"/>
            <a:ext cx="2303850" cy="54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945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8479119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page number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8103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1387" y="0"/>
            <a:ext cx="24379643" cy="13716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31"/>
            <a:ext cx="18574791" cy="492442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539703">
              <a:lnSpc>
                <a:spcPct val="100000"/>
              </a:lnSpc>
              <a:defRPr sz="7996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5"/>
            <a:ext cx="18574791" cy="3860246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600"/>
              </a:spcAft>
              <a:buNone/>
              <a:defRPr sz="3198">
                <a:solidFill>
                  <a:schemeClr val="tx1"/>
                </a:solidFill>
              </a:defRPr>
            </a:lvl1pPr>
            <a:lvl2pPr marL="0" marR="0" indent="0" algn="l" defTabSz="182779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198"/>
            </a:lvl2pPr>
            <a:lvl3pPr marL="0" indent="0" algn="l">
              <a:spcAft>
                <a:spcPts val="600"/>
              </a:spcAft>
              <a:buNone/>
              <a:defRPr sz="3198"/>
            </a:lvl3pPr>
            <a:lvl4pPr marL="0" indent="0" algn="l">
              <a:buNone/>
              <a:defRPr sz="3198"/>
            </a:lvl4pPr>
            <a:lvl5pPr marL="0" indent="0" algn="l">
              <a:buNone/>
              <a:defRPr sz="3198"/>
            </a:lvl5pPr>
            <a:lvl6pPr marL="0" indent="0" algn="l">
              <a:buNone/>
              <a:defRPr sz="3198"/>
            </a:lvl6pPr>
            <a:lvl7pPr marL="0" indent="0" algn="l">
              <a:buNone/>
              <a:defRPr sz="3198"/>
            </a:lvl7pPr>
            <a:lvl8pPr marL="0" indent="0" algn="l">
              <a:buNone/>
              <a:defRPr sz="3198"/>
            </a:lvl8pPr>
            <a:lvl9pPr marL="0" indent="0" algn="l">
              <a:buNone/>
              <a:defRPr sz="3198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PP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05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PP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784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PP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1268992" y="12837600"/>
            <a:ext cx="2303850" cy="366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339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2828931"/>
            <a:ext cx="22752095" cy="5539978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827545">
              <a:lnSpc>
                <a:spcPct val="100000"/>
              </a:lnSpc>
              <a:defRPr sz="1199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600"/>
              </a:spcAft>
              <a:buNone/>
              <a:defRPr sz="4798">
                <a:solidFill>
                  <a:schemeClr val="tx1"/>
                </a:solidFill>
              </a:defRPr>
            </a:lvl1pPr>
            <a:lvl2pPr marL="0" marR="0" indent="0" algn="l" defTabSz="182779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798"/>
            </a:lvl2pPr>
            <a:lvl3pPr marL="0" indent="0" algn="l">
              <a:spcAft>
                <a:spcPts val="600"/>
              </a:spcAft>
              <a:buNone/>
              <a:defRPr sz="3198"/>
            </a:lvl3pPr>
            <a:lvl4pPr marL="0" indent="0" algn="l">
              <a:buNone/>
              <a:defRPr sz="3198"/>
            </a:lvl4pPr>
            <a:lvl5pPr marL="0" indent="0" algn="l">
              <a:buNone/>
              <a:defRPr sz="3198"/>
            </a:lvl5pPr>
            <a:lvl6pPr marL="0" indent="0" algn="l">
              <a:buNone/>
              <a:defRPr sz="3198"/>
            </a:lvl6pPr>
            <a:lvl7pPr marL="0" indent="0" algn="l">
              <a:buNone/>
              <a:defRPr sz="3198"/>
            </a:lvl7pPr>
            <a:lvl8pPr marL="0" indent="0" algn="l">
              <a:buNone/>
              <a:defRPr sz="3198"/>
            </a:lvl8pPr>
            <a:lvl9pPr marL="0" indent="0" algn="l">
              <a:buNone/>
              <a:defRPr sz="3198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PP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953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_BALKE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50" y="957600"/>
            <a:ext cx="17966363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21D054E4-46E6-42F4-9EF6-F9ED18F2F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9649303" y="12837600"/>
            <a:ext cx="2303850" cy="3663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7218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6915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mask&amp;blur Sustainability 80pt (motif 1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2828933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1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4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396">
                <a:solidFill>
                  <a:schemeClr val="tx1"/>
                </a:solidFill>
              </a:defRPr>
            </a:lvl1pPr>
            <a:lvl2pPr marL="0" marR="0" indent="0" algn="l" defTabSz="182779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798"/>
            </a:lvl2pPr>
            <a:lvl3pPr marL="0" indent="0" algn="l">
              <a:spcAft>
                <a:spcPts val="600"/>
              </a:spcAft>
              <a:buNone/>
              <a:defRPr sz="3198"/>
            </a:lvl3pPr>
            <a:lvl4pPr marL="0" indent="0" algn="l">
              <a:buNone/>
              <a:defRPr sz="3198"/>
            </a:lvl4pPr>
            <a:lvl5pPr marL="0" indent="0" algn="l">
              <a:buNone/>
              <a:defRPr sz="3198"/>
            </a:lvl5pPr>
            <a:lvl6pPr marL="0" indent="0" algn="l">
              <a:buNone/>
              <a:defRPr sz="3198"/>
            </a:lvl6pPr>
            <a:lvl7pPr marL="0" indent="0" algn="l">
              <a:buNone/>
              <a:defRPr sz="3198"/>
            </a:lvl7pPr>
            <a:lvl8pPr marL="0" indent="0" algn="l">
              <a:buNone/>
              <a:defRPr sz="3198"/>
            </a:lvl8pPr>
            <a:lvl9pPr marL="0" indent="0" algn="l">
              <a:buNone/>
              <a:defRPr sz="3198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PP</a:t>
            </a:r>
          </a:p>
        </p:txBody>
      </p:sp>
    </p:spTree>
    <p:extLst>
      <p:ext uri="{BB962C8B-B14F-4D97-AF65-F5344CB8AC3E}">
        <p14:creationId xmlns:p14="http://schemas.microsoft.com/office/powerpoint/2010/main" val="2088568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254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1136019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ig Headline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961869"/>
            <a:ext cx="10232464" cy="119899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0" baseline="0">
                <a:solidFill>
                  <a:schemeClr val="tx1"/>
                </a:solidFill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, prominent headline with a lot to say with half image and not the slightest bit of copy on the side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0"/>
            <a:ext cx="12141298" cy="10953964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6" name="Abgerundetes Rechteck">
            <a:extLst>
              <a:ext uri="{FF2B5EF4-FFF2-40B4-BE49-F238E27FC236}">
                <a16:creationId xmlns:a16="http://schemas.microsoft.com/office/drawing/2014/main" id="{7F88260B-B219-B655-A479-C76D6752097B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346A03DE-B760-562B-3A70-544ADE685EFD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114327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0519" cy="5539978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6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3704788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18574791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822272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4226416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95465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512000"/>
            <a:ext cx="18574791" cy="1822876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6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4128518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462212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022212"/>
            <a:ext cx="18574791" cy="2312664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2959988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1"/>
            <a:ext cx="18574067" cy="332398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883985"/>
            <a:ext cx="18574791" cy="1450890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28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1191938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004051"/>
            <a:ext cx="24382413" cy="671195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95465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512000"/>
            <a:ext cx="18574791" cy="1822876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6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467388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004051"/>
            <a:ext cx="24382413" cy="671195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462212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022212"/>
            <a:ext cx="18574791" cy="2312664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3095323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004051"/>
            <a:ext cx="24382413" cy="671195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1"/>
            <a:ext cx="18574067" cy="332398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883985"/>
            <a:ext cx="18574791" cy="1450890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28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1432784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95465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9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512000"/>
            <a:ext cx="18574791" cy="1822876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600">
                <a:solidFill>
                  <a:schemeClr val="tx2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3942903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0"/>
            <a:ext cx="18574067" cy="2462212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022212"/>
            <a:ext cx="18574791" cy="2312664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32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3458937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ig Headline, copy,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8121DF0-6DD2-FB2F-1E6F-D9D919996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7993" y="961866"/>
            <a:ext cx="10232464" cy="511446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0" baseline="0">
                <a:latin typeface="Aeonik Medium" panose="020B0503030300000000" pitchFamily="34" charset="0"/>
              </a:defRPr>
            </a:lvl1pPr>
          </a:lstStyle>
          <a:p>
            <a:r>
              <a:rPr lang="en-US" noProof="0"/>
              <a:t>Big headline with image and copy block.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04AD13E-7053-FCC4-2A27-20CAB7158B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241117" y="-9606"/>
            <a:ext cx="12141298" cy="10953964"/>
          </a:xfrm>
        </p:spPr>
        <p:txBody>
          <a:bodyPr/>
          <a:lstStyle/>
          <a:p>
            <a:r>
              <a:rPr lang="en-US" noProof="0"/>
              <a:t>Bild durch Klicken auf Symbol hinzufügen</a:t>
            </a:r>
          </a:p>
        </p:txBody>
      </p:sp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9F1CA369-F63A-DA17-A560-CA50C3D99B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959" y="6676526"/>
            <a:ext cx="10194498" cy="642684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2400"/>
              </a:spcBef>
              <a:buNone/>
              <a:defRPr sz="2500" b="0" i="0" baseline="0">
                <a:solidFill>
                  <a:schemeClr val="tx1"/>
                </a:solidFill>
                <a:latin typeface="Aeonik" panose="020B0503030300000000" pitchFamily="34" charset="0"/>
              </a:defRPr>
            </a:lvl1pPr>
          </a:lstStyle>
          <a:p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tetur</a:t>
            </a:r>
            <a:r>
              <a:rPr lang="en-US" noProof="0"/>
              <a:t> </a:t>
            </a:r>
            <a:r>
              <a:rPr lang="en-US" noProof="0" err="1"/>
              <a:t>sadipscing</a:t>
            </a:r>
            <a:r>
              <a:rPr lang="en-US" noProof="0"/>
              <a:t> </a:t>
            </a:r>
            <a:r>
              <a:rPr lang="en-US" noProof="0" err="1"/>
              <a:t>elitr</a:t>
            </a:r>
            <a:r>
              <a:rPr lang="en-US" noProof="0"/>
              <a:t>, sed diam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eirmod</a:t>
            </a:r>
            <a:r>
              <a:rPr lang="en-US" noProof="0"/>
              <a:t> </a:t>
            </a:r>
            <a:r>
              <a:rPr lang="en-US" noProof="0" err="1"/>
              <a:t>tempor</a:t>
            </a:r>
            <a:r>
              <a:rPr lang="en-US" noProof="0"/>
              <a:t> </a:t>
            </a:r>
            <a:r>
              <a:rPr lang="en-US" noProof="0" err="1"/>
              <a:t>inv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labore et dolore magna </a:t>
            </a:r>
            <a:r>
              <a:rPr lang="en-US" noProof="0" err="1"/>
              <a:t>aliquy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, sed diam </a:t>
            </a:r>
            <a:r>
              <a:rPr lang="en-US" noProof="0" err="1"/>
              <a:t>voluptua</a:t>
            </a:r>
            <a:r>
              <a:rPr lang="en-US" noProof="0"/>
              <a:t>. At </a:t>
            </a:r>
            <a:r>
              <a:rPr lang="en-US" noProof="0" err="1"/>
              <a:t>vero</a:t>
            </a:r>
            <a:r>
              <a:rPr lang="en-US" noProof="0"/>
              <a:t> </a:t>
            </a:r>
            <a:r>
              <a:rPr lang="en-US" noProof="0" err="1"/>
              <a:t>eos</a:t>
            </a:r>
            <a:r>
              <a:rPr lang="en-US" noProof="0"/>
              <a:t> et </a:t>
            </a:r>
            <a:r>
              <a:rPr lang="en-US" noProof="0" err="1"/>
              <a:t>accusam</a:t>
            </a:r>
            <a:r>
              <a:rPr lang="en-US" noProof="0"/>
              <a:t> et </a:t>
            </a:r>
            <a:r>
              <a:rPr lang="en-US" noProof="0" err="1"/>
              <a:t>justo</a:t>
            </a:r>
            <a:r>
              <a:rPr lang="en-US" noProof="0"/>
              <a:t> duo </a:t>
            </a:r>
            <a:r>
              <a:rPr lang="en-US" noProof="0" err="1"/>
              <a:t>dolores</a:t>
            </a:r>
            <a:r>
              <a:rPr lang="en-US" noProof="0"/>
              <a:t> et </a:t>
            </a:r>
            <a:r>
              <a:rPr lang="en-US" noProof="0" err="1"/>
              <a:t>ea</a:t>
            </a:r>
            <a:r>
              <a:rPr lang="en-US" noProof="0"/>
              <a:t> </a:t>
            </a:r>
            <a:r>
              <a:rPr lang="en-US" noProof="0" err="1"/>
              <a:t>rebum</a:t>
            </a:r>
            <a:r>
              <a:rPr lang="en-US" noProof="0"/>
              <a:t>. Stet </a:t>
            </a:r>
            <a:r>
              <a:rPr lang="en-US" noProof="0" err="1"/>
              <a:t>clita</a:t>
            </a:r>
            <a:r>
              <a:rPr lang="en-US" noProof="0"/>
              <a:t> </a:t>
            </a:r>
            <a:r>
              <a:rPr lang="en-US" noProof="0" err="1"/>
              <a:t>kasd</a:t>
            </a:r>
            <a:r>
              <a:rPr lang="en-US" noProof="0"/>
              <a:t> </a:t>
            </a:r>
            <a:r>
              <a:rPr lang="en-US" noProof="0" err="1"/>
              <a:t>gubergren</a:t>
            </a:r>
            <a:r>
              <a:rPr lang="en-US" noProof="0"/>
              <a:t>, no sea </a:t>
            </a:r>
            <a:r>
              <a:rPr lang="en-US" noProof="0" err="1"/>
              <a:t>takimata</a:t>
            </a:r>
            <a:r>
              <a:rPr lang="en-US" noProof="0"/>
              <a:t> </a:t>
            </a:r>
            <a:r>
              <a:rPr lang="en-US" noProof="0" err="1"/>
              <a:t>sanctus</a:t>
            </a:r>
            <a:r>
              <a:rPr lang="en-US" noProof="0"/>
              <a:t> </a:t>
            </a:r>
            <a:r>
              <a:rPr lang="en-US" noProof="0" err="1"/>
              <a:t>es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0" name="Abgerundetes Rechteck">
            <a:extLst>
              <a:ext uri="{FF2B5EF4-FFF2-40B4-BE49-F238E27FC236}">
                <a16:creationId xmlns:a16="http://schemas.microsoft.com/office/drawing/2014/main" id="{BAD5F22E-009A-3A1B-87F6-3C1DA40A2F99}"/>
              </a:ext>
            </a:extLst>
          </p:cNvPr>
          <p:cNvSpPr/>
          <p:nvPr/>
        </p:nvSpPr>
        <p:spPr>
          <a:xfrm>
            <a:off x="23169816" y="12470062"/>
            <a:ext cx="633263" cy="633304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defTabSz="825377"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en-US" sz="3200" noProof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C6438D1C-B8A3-C714-225F-31F8C289061E}"/>
              </a:ext>
            </a:extLst>
          </p:cNvPr>
          <p:cNvSpPr txBox="1"/>
          <p:nvPr/>
        </p:nvSpPr>
        <p:spPr>
          <a:xfrm>
            <a:off x="23169816" y="12529534"/>
            <a:ext cx="633263" cy="4873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fld id="{86CB4B4D-7CA3-9044-876B-883B54F8677D}" type="slidenum">
              <a:rPr lang="en-US" sz="2500" noProof="0" smtClean="0">
                <a:solidFill>
                  <a:schemeClr val="tx1"/>
                </a:solidFill>
              </a:rPr>
              <a:t>‹Nr.›</a:t>
            </a:fld>
            <a:endParaRPr lang="en-US" sz="25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080304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9" y="7560001"/>
            <a:ext cx="18574067" cy="332398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7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0" y="10883985"/>
            <a:ext cx="18574791" cy="1450890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600"/>
              </a:spcAft>
              <a:buNone/>
              <a:defRPr sz="2800">
                <a:solidFill>
                  <a:schemeClr val="tx2"/>
                </a:solidFill>
              </a:defRPr>
            </a:lvl1pPr>
            <a:lvl2pPr marL="0" indent="0" algn="l">
              <a:spcAft>
                <a:spcPts val="600"/>
              </a:spcAft>
              <a:buNone/>
              <a:defRPr sz="2800"/>
            </a:lvl2pPr>
            <a:lvl3pPr marL="0" indent="0" algn="l">
              <a:spcAft>
                <a:spcPts val="600"/>
              </a:spcAft>
              <a:buNone/>
              <a:defRPr sz="2800"/>
            </a:lvl3pPr>
            <a:lvl4pPr marL="0" indent="0" algn="l">
              <a:buNone/>
              <a:defRPr sz="2800"/>
            </a:lvl4pPr>
            <a:lvl5pPr marL="0" indent="0" algn="l">
              <a:buNone/>
              <a:defRPr sz="2800"/>
            </a:lvl5pPr>
            <a:lvl6pPr marL="0" indent="0" algn="l">
              <a:buNone/>
              <a:defRPr sz="2800"/>
            </a:lvl6pPr>
            <a:lvl7pPr marL="0" indent="0" algn="l">
              <a:buNone/>
              <a:defRPr sz="2800"/>
            </a:lvl7pPr>
            <a:lvl8pPr marL="0" indent="0" algn="l">
              <a:buNone/>
              <a:defRPr sz="2800"/>
            </a:lvl8pPr>
            <a:lvl9pPr marL="0" indent="0" algn="l">
              <a:buNone/>
              <a:defRPr sz="28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24382413" cy="70056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822270" y="12621600"/>
            <a:ext cx="18574791" cy="109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</p:spTree>
    <p:extLst>
      <p:ext uri="{BB962C8B-B14F-4D97-AF65-F5344CB8AC3E}">
        <p14:creationId xmlns:p14="http://schemas.microsoft.com/office/powerpoint/2010/main" val="527851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4924426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7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/>
              <a:t>Restricted | © Siemens 2024 | SCM FE GF | 2024-11-13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934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5539978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4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/>
              <a:t>Restricted | © Siemens 2024 | SCM FE GF | 2024-11-13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533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5"/>
            <a:ext cx="18574791" cy="386024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2" y="12621600"/>
            <a:ext cx="17277355" cy="1094400"/>
          </a:xfrm>
        </p:spPr>
        <p:txBody>
          <a:bodyPr/>
          <a:lstStyle/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218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24382413" cy="123336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4924426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7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/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068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24382413" cy="123336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US" sz="960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5539978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4"/>
            <a:ext cx="18574791" cy="3245244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790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24382413" cy="123336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en-EN" sz="960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2828927"/>
            <a:ext cx="24382413" cy="9504674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algn="l"/>
            <a:endParaRPr lang="de-DE" sz="960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9"/>
            <a:ext cx="22752095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5"/>
            <a:ext cx="18574791" cy="386024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2" y="12621600"/>
            <a:ext cx="17277355" cy="1094400"/>
          </a:xfrm>
        </p:spPr>
        <p:txBody>
          <a:bodyPr/>
          <a:lstStyle/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589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4924426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5999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4"/>
            <a:ext cx="18574791" cy="386079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64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769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7" y="2828927"/>
            <a:ext cx="22752095" cy="5539978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11999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8368903"/>
            <a:ext cx="18574791" cy="3245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8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3" y="12621600"/>
            <a:ext cx="17278881" cy="109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257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20746" y="2828927"/>
            <a:ext cx="22739394" cy="4924426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822272" y="7753351"/>
            <a:ext cx="18574791" cy="3860246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6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18287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2pPr>
            <a:lvl3pPr marL="0" indent="0" algn="l">
              <a:spcAft>
                <a:spcPts val="600"/>
              </a:spcAft>
              <a:buNone/>
              <a:defRPr sz="3200"/>
            </a:lvl3pPr>
            <a:lvl4pPr marL="0" indent="0" algn="l">
              <a:buNone/>
              <a:defRPr sz="3200"/>
            </a:lvl4pPr>
            <a:lvl5pPr marL="0" indent="0" algn="l">
              <a:buNone/>
              <a:defRPr sz="3200"/>
            </a:lvl5pPr>
            <a:lvl6pPr marL="0" indent="0" algn="l">
              <a:buNone/>
              <a:defRPr sz="3200"/>
            </a:lvl6pPr>
            <a:lvl7pPr marL="0" indent="0" algn="l">
              <a:buNone/>
              <a:defRPr sz="3200"/>
            </a:lvl7pPr>
            <a:lvl8pPr marL="0" indent="0" algn="l">
              <a:buNone/>
              <a:defRPr sz="3200"/>
            </a:lvl8pPr>
            <a:lvl9pPr marL="0" indent="0" algn="l">
              <a:buNone/>
              <a:defRPr sz="32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0547463" y="12729600"/>
            <a:ext cx="3023803" cy="480816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2118182" y="12621600"/>
            <a:ext cx="17277355" cy="109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06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8.xml"/><Relationship Id="rId18" Type="http://schemas.openxmlformats.org/officeDocument/2006/relationships/slideLayout" Target="../slideLayouts/slideLayout233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218.xml"/><Relationship Id="rId21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27.xml"/><Relationship Id="rId17" Type="http://schemas.openxmlformats.org/officeDocument/2006/relationships/slideLayout" Target="../slideLayouts/slideLayout232.xml"/><Relationship Id="rId25" Type="http://schemas.openxmlformats.org/officeDocument/2006/relationships/theme" Target="../theme/theme10.xml"/><Relationship Id="rId2" Type="http://schemas.openxmlformats.org/officeDocument/2006/relationships/slideLayout" Target="../slideLayouts/slideLayout217.xml"/><Relationship Id="rId16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6.xml"/><Relationship Id="rId24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30.xml"/><Relationship Id="rId23" Type="http://schemas.openxmlformats.org/officeDocument/2006/relationships/slideLayout" Target="../slideLayouts/slideLayout238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225.xml"/><Relationship Id="rId19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Relationship Id="rId14" Type="http://schemas.openxmlformats.org/officeDocument/2006/relationships/slideLayout" Target="../slideLayouts/slideLayout229.xml"/><Relationship Id="rId22" Type="http://schemas.openxmlformats.org/officeDocument/2006/relationships/slideLayout" Target="../slideLayouts/slideLayout237.xml"/><Relationship Id="rId27" Type="http://schemas.openxmlformats.org/officeDocument/2006/relationships/oleObject" Target="../embeddings/oleObject2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3" Type="http://schemas.openxmlformats.org/officeDocument/2006/relationships/slideLayout" Target="../slideLayouts/slideLayout244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13" Type="http://schemas.openxmlformats.org/officeDocument/2006/relationships/slideLayout" Target="../slideLayouts/slideLayout274.xml"/><Relationship Id="rId18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64.xml"/><Relationship Id="rId21" Type="http://schemas.openxmlformats.org/officeDocument/2006/relationships/slideLayout" Target="../slideLayouts/slideLayout282.xml"/><Relationship Id="rId7" Type="http://schemas.openxmlformats.org/officeDocument/2006/relationships/slideLayout" Target="../slideLayouts/slideLayout268.xml"/><Relationship Id="rId12" Type="http://schemas.openxmlformats.org/officeDocument/2006/relationships/slideLayout" Target="../slideLayouts/slideLayout273.xml"/><Relationship Id="rId17" Type="http://schemas.openxmlformats.org/officeDocument/2006/relationships/slideLayout" Target="../slideLayouts/slideLayout278.xml"/><Relationship Id="rId2" Type="http://schemas.openxmlformats.org/officeDocument/2006/relationships/slideLayout" Target="../slideLayouts/slideLayout263.xml"/><Relationship Id="rId16" Type="http://schemas.openxmlformats.org/officeDocument/2006/relationships/slideLayout" Target="../slideLayouts/slideLayout277.xml"/><Relationship Id="rId20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66.xml"/><Relationship Id="rId15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71.xml"/><Relationship Id="rId19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70.xml"/><Relationship Id="rId14" Type="http://schemas.openxmlformats.org/officeDocument/2006/relationships/slideLayout" Target="../slideLayouts/slideLayout275.xml"/><Relationship Id="rId22" Type="http://schemas.openxmlformats.org/officeDocument/2006/relationships/theme" Target="../theme/theme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75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7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76.xml"/><Relationship Id="rId9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99.xml"/><Relationship Id="rId34" Type="http://schemas.openxmlformats.org/officeDocument/2006/relationships/slideLayout" Target="../slideLayouts/slideLayout112.xml"/><Relationship Id="rId42" Type="http://schemas.openxmlformats.org/officeDocument/2006/relationships/slideLayout" Target="../slideLayouts/slideLayout120.xml"/><Relationship Id="rId47" Type="http://schemas.openxmlformats.org/officeDocument/2006/relationships/oleObject" Target="../embeddings/oleObject4.bin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40" Type="http://schemas.openxmlformats.org/officeDocument/2006/relationships/slideLayout" Target="../slideLayouts/slideLayout118.xml"/><Relationship Id="rId45" Type="http://schemas.openxmlformats.org/officeDocument/2006/relationships/theme" Target="../theme/theme7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slideLayout" Target="../slideLayouts/slideLayout121.xml"/><Relationship Id="rId48" Type="http://schemas.openxmlformats.org/officeDocument/2006/relationships/image" Target="../media/image16.emf"/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46" Type="http://schemas.openxmlformats.org/officeDocument/2006/relationships/tags" Target="../tags/tag9.x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64.xml"/><Relationship Id="rId47" Type="http://schemas.openxmlformats.org/officeDocument/2006/relationships/slideLayout" Target="../slideLayouts/slideLayout169.xml"/><Relationship Id="rId63" Type="http://schemas.openxmlformats.org/officeDocument/2006/relationships/slideLayout" Target="../slideLayouts/slideLayout185.xml"/><Relationship Id="rId68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slideLayout" Target="../slideLayouts/slideLayout154.xml"/><Relationship Id="rId37" Type="http://schemas.openxmlformats.org/officeDocument/2006/relationships/slideLayout" Target="../slideLayouts/slideLayout159.xml"/><Relationship Id="rId40" Type="http://schemas.openxmlformats.org/officeDocument/2006/relationships/slideLayout" Target="../slideLayouts/slideLayout162.xml"/><Relationship Id="rId45" Type="http://schemas.openxmlformats.org/officeDocument/2006/relationships/slideLayout" Target="../slideLayouts/slideLayout167.xml"/><Relationship Id="rId53" Type="http://schemas.openxmlformats.org/officeDocument/2006/relationships/slideLayout" Target="../slideLayouts/slideLayout175.xml"/><Relationship Id="rId58" Type="http://schemas.openxmlformats.org/officeDocument/2006/relationships/slideLayout" Target="../slideLayouts/slideLayout180.xml"/><Relationship Id="rId66" Type="http://schemas.openxmlformats.org/officeDocument/2006/relationships/slideLayout" Target="../slideLayouts/slideLayout188.xml"/><Relationship Id="rId74" Type="http://schemas.openxmlformats.org/officeDocument/2006/relationships/oleObject" Target="../embeddings/oleObject5.bin"/><Relationship Id="rId5" Type="http://schemas.openxmlformats.org/officeDocument/2006/relationships/slideLayout" Target="../slideLayouts/slideLayout127.xml"/><Relationship Id="rId61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Relationship Id="rId43" Type="http://schemas.openxmlformats.org/officeDocument/2006/relationships/slideLayout" Target="../slideLayouts/slideLayout165.xml"/><Relationship Id="rId48" Type="http://schemas.openxmlformats.org/officeDocument/2006/relationships/slideLayout" Target="../slideLayouts/slideLayout170.xml"/><Relationship Id="rId56" Type="http://schemas.openxmlformats.org/officeDocument/2006/relationships/slideLayout" Target="../slideLayouts/slideLayout178.xml"/><Relationship Id="rId64" Type="http://schemas.openxmlformats.org/officeDocument/2006/relationships/slideLayout" Target="../slideLayouts/slideLayout186.xml"/><Relationship Id="rId69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30.xml"/><Relationship Id="rId51" Type="http://schemas.openxmlformats.org/officeDocument/2006/relationships/slideLayout" Target="../slideLayouts/slideLayout173.xml"/><Relationship Id="rId72" Type="http://schemas.openxmlformats.org/officeDocument/2006/relationships/theme" Target="../theme/theme8.xml"/><Relationship Id="rId3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38" Type="http://schemas.openxmlformats.org/officeDocument/2006/relationships/slideLayout" Target="../slideLayouts/slideLayout160.xml"/><Relationship Id="rId46" Type="http://schemas.openxmlformats.org/officeDocument/2006/relationships/slideLayout" Target="../slideLayouts/slideLayout168.xml"/><Relationship Id="rId59" Type="http://schemas.openxmlformats.org/officeDocument/2006/relationships/slideLayout" Target="../slideLayouts/slideLayout181.xml"/><Relationship Id="rId67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42.xml"/><Relationship Id="rId41" Type="http://schemas.openxmlformats.org/officeDocument/2006/relationships/slideLayout" Target="../slideLayouts/slideLayout163.xml"/><Relationship Id="rId54" Type="http://schemas.openxmlformats.org/officeDocument/2006/relationships/slideLayout" Target="../slideLayouts/slideLayout176.xml"/><Relationship Id="rId62" Type="http://schemas.openxmlformats.org/officeDocument/2006/relationships/slideLayout" Target="../slideLayouts/slideLayout184.xml"/><Relationship Id="rId70" Type="http://schemas.openxmlformats.org/officeDocument/2006/relationships/slideLayout" Target="../slideLayouts/slideLayout192.xml"/><Relationship Id="rId75" Type="http://schemas.openxmlformats.org/officeDocument/2006/relationships/image" Target="../media/image19.emf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slideLayout" Target="../slideLayouts/slideLayout158.xml"/><Relationship Id="rId49" Type="http://schemas.openxmlformats.org/officeDocument/2006/relationships/slideLayout" Target="../slideLayouts/slideLayout171.xml"/><Relationship Id="rId57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53.xml"/><Relationship Id="rId44" Type="http://schemas.openxmlformats.org/officeDocument/2006/relationships/slideLayout" Target="../slideLayouts/slideLayout166.xml"/><Relationship Id="rId52" Type="http://schemas.openxmlformats.org/officeDocument/2006/relationships/slideLayout" Target="../slideLayouts/slideLayout174.xml"/><Relationship Id="rId60" Type="http://schemas.openxmlformats.org/officeDocument/2006/relationships/slideLayout" Target="../slideLayouts/slideLayout182.xml"/><Relationship Id="rId65" Type="http://schemas.openxmlformats.org/officeDocument/2006/relationships/slideLayout" Target="../slideLayouts/slideLayout187.xml"/><Relationship Id="rId73" Type="http://schemas.openxmlformats.org/officeDocument/2006/relationships/tags" Target="../tags/tag10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39" Type="http://schemas.openxmlformats.org/officeDocument/2006/relationships/slideLayout" Target="../slideLayouts/slideLayout161.xml"/><Relationship Id="rId34" Type="http://schemas.openxmlformats.org/officeDocument/2006/relationships/slideLayout" Target="../slideLayouts/slideLayout156.xml"/><Relationship Id="rId50" Type="http://schemas.openxmlformats.org/officeDocument/2006/relationships/slideLayout" Target="../slideLayouts/slideLayout172.xml"/><Relationship Id="rId55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29.xml"/><Relationship Id="rId71" Type="http://schemas.openxmlformats.org/officeDocument/2006/relationships/slideLayout" Target="../slideLayouts/slideLayout1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0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8.xml"/><Relationship Id="rId23" Type="http://schemas.openxmlformats.org/officeDocument/2006/relationships/theme" Target="../theme/theme9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1206422" y="1079502"/>
            <a:ext cx="21969570" cy="14331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lang="en-US" noProof="0" err="1"/>
              <a:t>Folientitel</a:t>
            </a:r>
            <a:endParaRPr lang="en-US" noProof="0"/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 hasCustomPrompt="1"/>
          </p:nvPr>
        </p:nvSpPr>
        <p:spPr>
          <a:xfrm>
            <a:off x="1200174" y="3666330"/>
            <a:ext cx="2196957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5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6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mi, a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turpus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. Duis auctor </a:t>
            </a:r>
            <a:r>
              <a:rPr lang="en-US" err="1"/>
              <a:t>risus</a:t>
            </a:r>
            <a:r>
              <a:rPr lang="en-US"/>
              <a:t> ante. Nunc </a:t>
            </a:r>
            <a:r>
              <a:rPr lang="en-US" err="1"/>
              <a:t>aliquam</a:t>
            </a:r>
            <a:r>
              <a:rPr lang="en-US"/>
              <a:t> eros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Donec </a:t>
            </a:r>
            <a:r>
              <a:rPr lang="en-US" err="1"/>
              <a:t>efficitur</a:t>
            </a:r>
            <a:r>
              <a:rPr lang="en-US"/>
              <a:t> dolor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tempus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nun </a:t>
            </a:r>
            <a:r>
              <a:rPr lang="en-US" err="1"/>
              <a:t>hendrer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non,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. 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 </a:t>
            </a:r>
          </a:p>
          <a:p>
            <a:pPr lvl="0"/>
            <a:r>
              <a:rPr lang="en-US"/>
              <a:t>Lorem </a:t>
            </a:r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2063127" y="13076011"/>
            <a:ext cx="349455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113">
              <a:defRPr sz="1800">
                <a:solidFill>
                  <a:srgbClr val="000000"/>
                </a:solidFill>
              </a:defRPr>
            </a:lvl1pPr>
          </a:lstStyle>
          <a:p>
            <a:fld id="{48F63A3B-78C7-47BE-AE5E-E10140E0464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929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93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73" r:id="rId19"/>
    <p:sldLayoutId id="2147483691" r:id="rId20"/>
    <p:sldLayoutId id="2147483692" r:id="rId21"/>
    <p:sldLayoutId id="2147483723" r:id="rId22"/>
    <p:sldLayoutId id="2147483974" r:id="rId23"/>
  </p:sldLayoutIdLst>
  <p:transition spd="med"/>
  <p:txStyles>
    <p:titleStyle>
      <a:lvl1pPr marL="0" marR="0" indent="0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1" i="0" u="none" strike="noStrike" cap="none" spc="-17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0" marR="0" indent="457131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264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395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527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658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789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199920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051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2437972" rtl="0" eaLnBrk="1" latinLnBrk="0" hangingPunct="1">
        <a:lnSpc>
          <a:spcPct val="150000"/>
        </a:lnSpc>
        <a:spcBef>
          <a:spcPts val="12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952392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2pPr>
      <a:lvl3pPr marL="1561900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3pPr>
      <a:lvl4pPr marL="2171409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4pPr>
      <a:lvl5pPr marL="2780917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5pPr>
      <a:lvl6pPr marL="3390426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6pPr>
      <a:lvl7pPr marL="3999934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7pPr>
      <a:lvl8pPr marL="4266561" marR="0" indent="0" algn="l" defTabSz="2437972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8pPr>
      <a:lvl9pPr marL="5485578" marR="0" indent="-609510" algn="l" defTabSz="2437972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9pPr>
    </p:bodyStyle>
    <p:otherStyle>
      <a:lvl1pPr marL="0" marR="0" indent="0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131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264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395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527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658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789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199920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051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C478A38-7CEB-101A-0270-E0AF7CA2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6825974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7772400" imgH="10058400" progId="TCLayout.ActiveDocument.1">
                  <p:embed/>
                </p:oleObj>
              </mc:Choice>
              <mc:Fallback>
                <p:oleObj name="think-cell Slide" r:id="rId27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478A38-7CEB-101A-0270-E0AF7CA2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1206422" y="1079501"/>
            <a:ext cx="2196957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lang="en-US" noProof="0" err="1"/>
              <a:t>Folientitel</a:t>
            </a:r>
            <a:endParaRPr lang="en-US" noProof="0"/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422" y="4248504"/>
            <a:ext cx="2196957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3657234" marR="0" lvl="5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4266773" marR="0" lvl="6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4876312" marR="0" lvl="7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5485851" marR="0" lvl="8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8"/>
            <a:endParaRPr lang="en-US"/>
          </a:p>
          <a:p>
            <a:pPr lvl="4"/>
            <a:endParaRPr lang="en-US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endParaRPr lang="en-US" noProof="0"/>
          </a:p>
          <a:p>
            <a:pPr lvl="1"/>
            <a:endParaRPr lang="en-US" noProof="0"/>
          </a:p>
          <a:p>
            <a:pPr lvl="2"/>
            <a:endParaRPr lang="en-US" noProof="0"/>
          </a:p>
          <a:p>
            <a:pPr lvl="3"/>
            <a:endParaRPr lang="en-US" noProof="0"/>
          </a:p>
          <a:p>
            <a:pPr lvl="4"/>
            <a:endParaRPr lang="en-US" noProof="0"/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2010243" y="13076009"/>
            <a:ext cx="349432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142">
              <a:defRPr sz="1800">
                <a:solidFill>
                  <a:srgbClr val="000000"/>
                </a:solidFill>
              </a:defRPr>
            </a:lvl1pPr>
          </a:lstStyle>
          <a:p>
            <a:fld id="{B370CFBD-2F57-8646-B15B-68848BBE2923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49839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</p:sldLayoutIdLst>
  <p:transition spd="med"/>
  <p:txStyles>
    <p:titleStyle>
      <a:lvl1pPr marL="0" marR="0" indent="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7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0" marR="0" indent="45715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1066693" marR="0" indent="-457154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2pPr>
      <a:lvl3pPr marL="1828617" marR="0" indent="-609539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2114339" marR="0" indent="-285721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2781056" marR="0" indent="-342900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5pPr>
      <a:lvl6pPr marL="3657234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6pPr>
      <a:lvl7pPr marL="4266773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7pPr>
      <a:lvl8pPr marL="4876312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8pPr>
      <a:lvl9pPr marL="5485851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9pPr>
    </p:bodyStyle>
    <p:otherStyle>
      <a:lvl1pPr marL="0" marR="0" indent="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15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8" y="957600"/>
            <a:ext cx="19726710" cy="1152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2268" y="2829600"/>
            <a:ext cx="14399063" cy="90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2270" y="12621600"/>
            <a:ext cx="1295916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55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</p:sldLayoutIdLst>
  <p:hf sldNum="0"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71996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4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9928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1799910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215989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251987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287985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1206422" y="1079501"/>
            <a:ext cx="2196957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lang="en-US" noProof="0" err="1"/>
              <a:t>Folientitel</a:t>
            </a:r>
            <a:endParaRPr lang="en-US" noProof="0"/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422" y="4248504"/>
            <a:ext cx="2196957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5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6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5"/>
            <a:endParaRPr lang="en-US"/>
          </a:p>
          <a:p>
            <a:pPr lvl="4"/>
            <a:endParaRPr lang="en-US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endParaRPr lang="en-US" noProof="0"/>
          </a:p>
          <a:p>
            <a:pPr lvl="1"/>
            <a:endParaRPr lang="en-US" noProof="0"/>
          </a:p>
          <a:p>
            <a:pPr lvl="2"/>
            <a:endParaRPr lang="en-US" noProof="0"/>
          </a:p>
          <a:p>
            <a:pPr lvl="3"/>
            <a:endParaRPr lang="en-US" noProof="0"/>
          </a:p>
          <a:p>
            <a:pPr lvl="4"/>
            <a:endParaRPr lang="en-US" noProof="0"/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2010243" y="13076009"/>
            <a:ext cx="349432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142">
              <a:defRPr sz="1800">
                <a:solidFill>
                  <a:srgbClr val="000000"/>
                </a:solidFill>
              </a:defRPr>
            </a:lvl1pPr>
          </a:lstStyle>
          <a:p>
            <a:fld id="{B370CFBD-2F57-8646-B15B-68848BBE2923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34839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</p:sldLayoutIdLst>
  <p:transition spd="med"/>
  <p:txStyles>
    <p:titleStyle>
      <a:lvl1pPr marL="0" marR="0" indent="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7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0" marR="0" indent="45715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952439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2pPr>
      <a:lvl3pPr marL="1561978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3pPr>
      <a:lvl4pPr marL="2171518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4pPr>
      <a:lvl5pPr marL="2781056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5pPr>
      <a:lvl6pPr marL="3390595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6pPr>
      <a:lvl7pPr marL="4000134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7pPr>
      <a:lvl8pPr marL="4266773" marR="0" indent="0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8pPr>
      <a:lvl9pPr marL="5485851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9pPr>
    </p:bodyStyle>
    <p:otherStyle>
      <a:lvl1pPr marL="0" marR="0" indent="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15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1206422" y="1079501"/>
            <a:ext cx="2196957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lang="en-US" noProof="0" err="1"/>
              <a:t>Folientitel</a:t>
            </a:r>
            <a:endParaRPr lang="en-US" noProof="0"/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422" y="4248504"/>
            <a:ext cx="2196957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5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6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5"/>
            <a:endParaRPr lang="en-US"/>
          </a:p>
          <a:p>
            <a:pPr lvl="4"/>
            <a:endParaRPr lang="en-US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endParaRPr lang="en-US" noProof="0"/>
          </a:p>
          <a:p>
            <a:pPr lvl="1"/>
            <a:endParaRPr lang="en-US" noProof="0"/>
          </a:p>
          <a:p>
            <a:pPr lvl="2"/>
            <a:endParaRPr lang="en-US" noProof="0"/>
          </a:p>
          <a:p>
            <a:pPr lvl="3"/>
            <a:endParaRPr lang="en-US" noProof="0"/>
          </a:p>
          <a:p>
            <a:pPr lvl="4"/>
            <a:endParaRPr lang="en-US" noProof="0"/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2010243" y="13076009"/>
            <a:ext cx="349432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142">
              <a:defRPr sz="1800">
                <a:solidFill>
                  <a:srgbClr val="000000"/>
                </a:solidFill>
              </a:defRPr>
            </a:lvl1pPr>
          </a:lstStyle>
          <a:p>
            <a:fld id="{48F63A3B-78C7-47BE-AE5E-E10140E0464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883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  <p:sldLayoutId id="2147483969" r:id="rId17"/>
    <p:sldLayoutId id="2147483970" r:id="rId18"/>
    <p:sldLayoutId id="2147483971" r:id="rId19"/>
    <p:sldLayoutId id="2147483972" r:id="rId20"/>
    <p:sldLayoutId id="2147483973" r:id="rId21"/>
  </p:sldLayoutIdLst>
  <p:transition spd="med"/>
  <p:txStyles>
    <p:titleStyle>
      <a:lvl1pPr marL="0" marR="0" indent="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7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0" marR="0" indent="45715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952439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2pPr>
      <a:lvl3pPr marL="1561978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3pPr>
      <a:lvl4pPr marL="2171518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4pPr>
      <a:lvl5pPr marL="2781056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5pPr>
      <a:lvl6pPr marL="3390595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6pPr>
      <a:lvl7pPr marL="4000134" marR="0" indent="-342900" algn="l" defTabSz="2438094" rtl="0" eaLnBrk="1" latinLnBrk="0" hangingPunct="1">
        <a:lnSpc>
          <a:spcPct val="15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7pPr>
      <a:lvl8pPr marL="4266773" marR="0" indent="0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8pPr>
      <a:lvl9pPr marL="5485851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9pPr>
    </p:bodyStyle>
    <p:otherStyle>
      <a:lvl1pPr marL="0" marR="0" indent="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15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7B5FC81-7092-04C8-3DA8-ABFE30DD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90069094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1" imgH="411" progId="TCLayout.ActiveDocument.1">
                  <p:embed/>
                </p:oleObj>
              </mc:Choice>
              <mc:Fallback>
                <p:oleObj name="think-cell Slide" r:id="rId8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5FC81-7092-04C8-3DA8-ABFE30DD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820748" y="957600"/>
            <a:ext cx="19726710" cy="1152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822268" y="2829600"/>
            <a:ext cx="14399063" cy="90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822270" y="12621600"/>
            <a:ext cx="1295916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418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805" r:id="rId5"/>
  </p:sldLayoutIdLst>
  <p:hf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71996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4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9928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1799910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215989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251987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287985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1206422" y="1079501"/>
            <a:ext cx="2196957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lang="en-US" noProof="0" err="1"/>
              <a:t>Folientitel</a:t>
            </a:r>
            <a:endParaRPr lang="en-US" noProof="0"/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 hasCustomPrompt="1"/>
          </p:nvPr>
        </p:nvSpPr>
        <p:spPr>
          <a:xfrm>
            <a:off x="1200174" y="3666330"/>
            <a:ext cx="2196957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5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6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mi, a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turpus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. Duis auctor </a:t>
            </a:r>
            <a:r>
              <a:rPr lang="en-US" err="1"/>
              <a:t>risus</a:t>
            </a:r>
            <a:r>
              <a:rPr lang="en-US"/>
              <a:t> ante. Nunc </a:t>
            </a:r>
            <a:r>
              <a:rPr lang="en-US" err="1"/>
              <a:t>aliquam</a:t>
            </a:r>
            <a:r>
              <a:rPr lang="en-US"/>
              <a:t> eros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Donec </a:t>
            </a:r>
            <a:r>
              <a:rPr lang="en-US" err="1"/>
              <a:t>efficitur</a:t>
            </a:r>
            <a:r>
              <a:rPr lang="en-US"/>
              <a:t> dolor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tempus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nun </a:t>
            </a:r>
            <a:r>
              <a:rPr lang="en-US" err="1"/>
              <a:t>hendrer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non,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. 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 </a:t>
            </a:r>
          </a:p>
          <a:p>
            <a:pPr lvl="0"/>
            <a:r>
              <a:rPr lang="en-US"/>
              <a:t>Lorem </a:t>
            </a:r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2010243" y="13076009"/>
            <a:ext cx="349432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142">
              <a:defRPr sz="1800">
                <a:solidFill>
                  <a:srgbClr val="000000"/>
                </a:solidFill>
              </a:defRPr>
            </a:lvl1pPr>
          </a:lstStyle>
          <a:p>
            <a:fld id="{0C1068A2-F996-8E49-86E4-3755E0219088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5748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</p:sldLayoutIdLst>
  <p:transition spd="med"/>
  <p:txStyles>
    <p:titleStyle>
      <a:lvl1pPr marL="0" marR="0" indent="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7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0" marR="0" indent="45715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2438094" rtl="0" eaLnBrk="1" latinLnBrk="0" hangingPunct="1">
        <a:lnSpc>
          <a:spcPct val="150000"/>
        </a:lnSpc>
        <a:spcBef>
          <a:spcPts val="12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952439" marR="0" indent="-342900" algn="l" defTabSz="2438094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2pPr>
      <a:lvl3pPr marL="1561978" marR="0" indent="-342900" algn="l" defTabSz="2438094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3pPr>
      <a:lvl4pPr marL="2171518" marR="0" indent="-342900" algn="l" defTabSz="2438094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4pPr>
      <a:lvl5pPr marL="2781056" marR="0" indent="-342900" algn="l" defTabSz="2438094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5pPr>
      <a:lvl6pPr marL="3390595" marR="0" indent="-342900" algn="l" defTabSz="2438094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6pPr>
      <a:lvl7pPr marL="4000134" marR="0" indent="-342900" algn="l" defTabSz="2438094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7pPr>
      <a:lvl8pPr marL="4266773" marR="0" indent="0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8pPr>
      <a:lvl9pPr marL="5485851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9pPr>
    </p:bodyStyle>
    <p:otherStyle>
      <a:lvl1pPr marL="0" marR="0" indent="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15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8" y="957600"/>
            <a:ext cx="19726710" cy="1152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2268" y="2829600"/>
            <a:ext cx="14399063" cy="90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2270" y="12621600"/>
            <a:ext cx="1295916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842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806" r:id="rId2"/>
  </p:sldLayoutIdLst>
  <p:hf sldNum="0"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71996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4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9928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1799910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215989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251987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287985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C478A38-7CEB-101A-0270-E0AF7CA2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6825974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7772400" imgH="10058400" progId="TCLayout.ActiveDocument.1">
                  <p:embed/>
                </p:oleObj>
              </mc:Choice>
              <mc:Fallback>
                <p:oleObj name="think-cell Slide" r:id="rId2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478A38-7CEB-101A-0270-E0AF7CA2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1206422" y="1079501"/>
            <a:ext cx="2196957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lang="en-US" noProof="0" err="1"/>
              <a:t>Folientitel</a:t>
            </a:r>
            <a:endParaRPr lang="en-US" noProof="0"/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422" y="4248504"/>
            <a:ext cx="2196957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3657234" marR="0" lvl="5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4266773" marR="0" lvl="6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4876312" marR="0" lvl="7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marL="5485851" marR="0" lvl="8" indent="-609539" algn="l" defTabSz="2438094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8"/>
            <a:endParaRPr lang="en-US"/>
          </a:p>
          <a:p>
            <a:pPr lvl="4"/>
            <a:endParaRPr lang="en-US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endParaRPr lang="en-US" noProof="0"/>
          </a:p>
          <a:p>
            <a:pPr lvl="1"/>
            <a:endParaRPr lang="en-US" noProof="0"/>
          </a:p>
          <a:p>
            <a:pPr lvl="2"/>
            <a:endParaRPr lang="en-US" noProof="0"/>
          </a:p>
          <a:p>
            <a:pPr lvl="3"/>
            <a:endParaRPr lang="en-US" noProof="0"/>
          </a:p>
          <a:p>
            <a:pPr lvl="4"/>
            <a:endParaRPr lang="en-US" noProof="0"/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2010243" y="13076009"/>
            <a:ext cx="349432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142">
              <a:defRPr sz="1800">
                <a:solidFill>
                  <a:srgbClr val="000000"/>
                </a:solidFill>
              </a:defRPr>
            </a:lvl1pPr>
          </a:lstStyle>
          <a:p>
            <a:fld id="{B370CFBD-2F57-8646-B15B-68848BBE2923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31106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8" r:id="rId20"/>
    <p:sldLayoutId id="2147483749" r:id="rId21"/>
    <p:sldLayoutId id="2147483750" r:id="rId22"/>
    <p:sldLayoutId id="2147483807" r:id="rId23"/>
  </p:sldLayoutIdLst>
  <p:transition spd="med"/>
  <p:txStyles>
    <p:titleStyle>
      <a:lvl1pPr marL="0" marR="0" indent="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7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0" marR="0" indent="45715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l" defTabSz="2438094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9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1066693" marR="0" indent="-457154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2pPr>
      <a:lvl3pPr marL="1828617" marR="0" indent="-609539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2114339" marR="0" indent="-285721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2781056" marR="0" indent="-342900" algn="l" defTabSz="2438094" rtl="0" eaLnBrk="1" latinLnBrk="0" hangingPunct="1">
        <a:lnSpc>
          <a:spcPct val="100000"/>
        </a:lnSpc>
        <a:spcBef>
          <a:spcPts val="4500"/>
        </a:spcBef>
        <a:spcAft>
          <a:spcPts val="0"/>
        </a:spcAft>
        <a:buClrTx/>
        <a:buSzPct val="123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5pPr>
      <a:lvl6pPr marL="3657234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6pPr>
      <a:lvl7pPr marL="4266773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7pPr>
      <a:lvl8pPr marL="4876312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8pPr>
      <a:lvl9pPr marL="5485851" marR="0" indent="-609539" algn="l" defTabSz="2438094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9pPr>
    </p:bodyStyle>
    <p:otherStyle>
      <a:lvl1pPr marL="0" marR="0" indent="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15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309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463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617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771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926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080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234" algn="ctr" defTabSz="5841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4C1263E-2467-86AC-7F33-75C8F4FFA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07274012"/>
              </p:ext>
            </p:extLst>
          </p:nvPr>
        </p:nvGraphicFramePr>
        <p:xfrm>
          <a:off x="3175" y="3176"/>
          <a:ext cx="3174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C1263E-2467-86AC-7F33-75C8F4FFA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4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820748" y="957600"/>
            <a:ext cx="19726710" cy="1152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822268" y="2829600"/>
            <a:ext cx="14399063" cy="90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| SCM FE GF PP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822270" y="12621600"/>
            <a:ext cx="1295916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8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</p:sldLayoutIdLst>
  <p:hf sldNum="0" hdr="0" dt="0"/>
  <p:txStyles>
    <p:titleStyle>
      <a:lvl1pPr algn="l" defTabSz="1827795" rtl="0" eaLnBrk="1" latinLnBrk="0" hangingPunct="1">
        <a:lnSpc>
          <a:spcPct val="90000"/>
        </a:lnSpc>
        <a:spcBef>
          <a:spcPct val="0"/>
        </a:spcBef>
        <a:buNone/>
        <a:defRPr sz="3998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598" kern="1200">
          <a:solidFill>
            <a:schemeClr val="tx1"/>
          </a:solidFill>
          <a:latin typeface="+mn-lt"/>
          <a:ea typeface="+mn-ea"/>
          <a:cs typeface="+mn-cs"/>
        </a:defRPr>
      </a:lvl1pPr>
      <a:lvl2pPr marL="359802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2pPr>
      <a:lvl3pPr marL="719604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3pPr>
      <a:lvl4pPr marL="1079406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4pPr>
      <a:lvl5pPr marL="1439208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5pPr>
      <a:lvl6pPr marL="1799010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6pPr>
      <a:lvl7pPr marL="2158812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7pPr>
      <a:lvl8pPr marL="2518614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8pPr>
      <a:lvl9pPr marL="2878416" indent="-359802" algn="l" defTabSz="182779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1pPr>
      <a:lvl2pPr marL="913896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2pPr>
      <a:lvl3pPr marL="1827795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3pPr>
      <a:lvl4pPr marL="2741691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4pPr>
      <a:lvl5pPr marL="3655589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5pPr>
      <a:lvl6pPr marL="4569486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6pPr>
      <a:lvl7pPr marL="5483382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7pPr>
      <a:lvl8pPr marL="6397280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8pPr>
      <a:lvl9pPr marL="7311176" algn="l" defTabSz="1827795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B7A3C9-FD14-33E8-5948-18C7CC8BA7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33391586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404" imgH="405" progId="TCLayout.ActiveDocument.1">
                  <p:embed/>
                </p:oleObj>
              </mc:Choice>
              <mc:Fallback>
                <p:oleObj name="think-cell Slide" r:id="rId47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B7A3C9-FD14-33E8-5948-18C7CC8BA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820748" y="957600"/>
            <a:ext cx="19726710" cy="1152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822268" y="2829600"/>
            <a:ext cx="14399063" cy="90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24 | SCM FE GF | 2024-11-13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822270" y="12621600"/>
            <a:ext cx="1295916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698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  <p:sldLayoutId id="2147483792" r:id="rId33"/>
    <p:sldLayoutId id="2147483793" r:id="rId34"/>
    <p:sldLayoutId id="2147483794" r:id="rId35"/>
    <p:sldLayoutId id="2147483795" r:id="rId36"/>
    <p:sldLayoutId id="2147483796" r:id="rId37"/>
    <p:sldLayoutId id="2147483797" r:id="rId38"/>
    <p:sldLayoutId id="2147483798" r:id="rId39"/>
    <p:sldLayoutId id="2147483799" r:id="rId40"/>
    <p:sldLayoutId id="2147483800" r:id="rId41"/>
    <p:sldLayoutId id="2147483801" r:id="rId42"/>
    <p:sldLayoutId id="2147483802" r:id="rId43"/>
    <p:sldLayoutId id="2147483803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71996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4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9928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1799910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215989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251987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287985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56C362-9B73-ED3A-A5AA-9F58E1BE2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2012973487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484" imgH="486" progId="TCLayout.ActiveDocument.1">
                  <p:embed/>
                </p:oleObj>
              </mc:Choice>
              <mc:Fallback>
                <p:oleObj name="think-cell Slide" r:id="rId7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56C362-9B73-ED3A-A5AA-9F58E1BE2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820748" y="957600"/>
            <a:ext cx="19726710" cy="1152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822268" y="2829600"/>
            <a:ext cx="14399063" cy="90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  <a:p>
            <a:pPr lvl="5"/>
            <a:r>
              <a:rPr lang="en-US" noProof="0" err="1"/>
              <a:t>Sechste</a:t>
            </a:r>
            <a:r>
              <a:rPr lang="en-US" noProof="0"/>
              <a:t> Ebene</a:t>
            </a:r>
          </a:p>
          <a:p>
            <a:pPr lvl="6"/>
            <a:r>
              <a:rPr lang="en-US" noProof="0" err="1"/>
              <a:t>Siebente</a:t>
            </a:r>
            <a:r>
              <a:rPr lang="en-US" noProof="0"/>
              <a:t> Ebene</a:t>
            </a:r>
          </a:p>
          <a:p>
            <a:pPr lvl="7"/>
            <a:r>
              <a:rPr lang="en-US" noProof="0" err="1"/>
              <a:t>Achte</a:t>
            </a:r>
            <a:r>
              <a:rPr lang="en-US" noProof="0"/>
              <a:t> Ebene</a:t>
            </a:r>
          </a:p>
          <a:p>
            <a:pPr lvl="8"/>
            <a:r>
              <a:rPr lang="en-US" noProof="0" err="1"/>
              <a:t>Neunte</a:t>
            </a:r>
            <a:r>
              <a:rPr lang="en-US" noProof="0"/>
              <a:t> Ebene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Unrestricted | © Siemens 2024 | November 2024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822270" y="12621600"/>
            <a:ext cx="1295916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err="1"/>
              <a:t>Seite</a:t>
            </a:r>
            <a:r>
              <a:rPr lang="en-US" noProof="0"/>
              <a:t> </a:t>
            </a:r>
            <a:fld id="{15EBE321-CBB1-4E91-BD14-37C8D44326F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0739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7" r:id="rId39"/>
    <p:sldLayoutId id="2147483848" r:id="rId40"/>
    <p:sldLayoutId id="2147483849" r:id="rId41"/>
    <p:sldLayoutId id="2147483850" r:id="rId42"/>
    <p:sldLayoutId id="2147483851" r:id="rId43"/>
    <p:sldLayoutId id="2147483852" r:id="rId44"/>
    <p:sldLayoutId id="2147483853" r:id="rId45"/>
    <p:sldLayoutId id="2147483854" r:id="rId46"/>
    <p:sldLayoutId id="2147483855" r:id="rId47"/>
    <p:sldLayoutId id="2147483856" r:id="rId48"/>
    <p:sldLayoutId id="2147483857" r:id="rId49"/>
    <p:sldLayoutId id="2147483858" r:id="rId50"/>
    <p:sldLayoutId id="2147483859" r:id="rId51"/>
    <p:sldLayoutId id="2147483860" r:id="rId52"/>
    <p:sldLayoutId id="2147483861" r:id="rId53"/>
    <p:sldLayoutId id="2147483862" r:id="rId54"/>
    <p:sldLayoutId id="2147483863" r:id="rId55"/>
    <p:sldLayoutId id="2147483864" r:id="rId56"/>
    <p:sldLayoutId id="2147483865" r:id="rId57"/>
    <p:sldLayoutId id="2147483866" r:id="rId58"/>
    <p:sldLayoutId id="2147483867" r:id="rId59"/>
    <p:sldLayoutId id="2147483868" r:id="rId60"/>
    <p:sldLayoutId id="2147483869" r:id="rId61"/>
    <p:sldLayoutId id="2147483870" r:id="rId62"/>
    <p:sldLayoutId id="2147483871" r:id="rId63"/>
    <p:sldLayoutId id="2147483872" r:id="rId64"/>
    <p:sldLayoutId id="2147483873" r:id="rId65"/>
    <p:sldLayoutId id="2147483874" r:id="rId66"/>
    <p:sldLayoutId id="2147483875" r:id="rId67"/>
    <p:sldLayoutId id="2147483876" r:id="rId68"/>
    <p:sldLayoutId id="2147483877" r:id="rId69"/>
    <p:sldLayoutId id="2147483878" r:id="rId70"/>
    <p:sldLayoutId id="2147483879" r:id="rId71"/>
  </p:sldLayoutIdLst>
  <p:hf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71996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4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9928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1799910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2159892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2519874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2879856" indent="-359982" algn="l" defTabSz="1828709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1206422" y="1079502"/>
            <a:ext cx="21969570" cy="14331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lang="en-US" noProof="0" err="1"/>
              <a:t>Folientitel</a:t>
            </a:r>
            <a:endParaRPr lang="en-US" noProof="0"/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 hasCustomPrompt="1"/>
          </p:nvPr>
        </p:nvSpPr>
        <p:spPr>
          <a:xfrm>
            <a:off x="1200174" y="3666330"/>
            <a:ext cx="2196957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5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6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mi, a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turpus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. Duis auctor </a:t>
            </a:r>
            <a:r>
              <a:rPr lang="en-US" err="1"/>
              <a:t>risus</a:t>
            </a:r>
            <a:r>
              <a:rPr lang="en-US"/>
              <a:t> ante. Nunc </a:t>
            </a:r>
            <a:r>
              <a:rPr lang="en-US" err="1"/>
              <a:t>aliquam</a:t>
            </a:r>
            <a:r>
              <a:rPr lang="en-US"/>
              <a:t> eros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Donec </a:t>
            </a:r>
            <a:r>
              <a:rPr lang="en-US" err="1"/>
              <a:t>efficitur</a:t>
            </a:r>
            <a:r>
              <a:rPr lang="en-US"/>
              <a:t> dolor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tempus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nun </a:t>
            </a:r>
            <a:r>
              <a:rPr lang="en-US" err="1"/>
              <a:t>hendrer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non,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. 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 </a:t>
            </a:r>
          </a:p>
          <a:p>
            <a:pPr lvl="0"/>
            <a:r>
              <a:rPr lang="en-US"/>
              <a:t>Lorem </a:t>
            </a:r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2063127" y="13076011"/>
            <a:ext cx="349455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113">
              <a:defRPr sz="1800">
                <a:solidFill>
                  <a:srgbClr val="000000"/>
                </a:solidFill>
              </a:defRPr>
            </a:lvl1pPr>
          </a:lstStyle>
          <a:p>
            <a:fld id="{48F63A3B-78C7-47BE-AE5E-E10140E0464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087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  <p:sldLayoutId id="2147483893" r:id="rId13"/>
    <p:sldLayoutId id="2147483894" r:id="rId14"/>
    <p:sldLayoutId id="2147483895" r:id="rId15"/>
    <p:sldLayoutId id="2147483896" r:id="rId16"/>
    <p:sldLayoutId id="2147483897" r:id="rId17"/>
    <p:sldLayoutId id="2147483898" r:id="rId18"/>
    <p:sldLayoutId id="2147483899" r:id="rId19"/>
    <p:sldLayoutId id="2147483900" r:id="rId20"/>
    <p:sldLayoutId id="2147483901" r:id="rId21"/>
    <p:sldLayoutId id="2147483902" r:id="rId22"/>
  </p:sldLayoutIdLst>
  <p:transition spd="med"/>
  <p:txStyles>
    <p:titleStyle>
      <a:lvl1pPr marL="0" marR="0" indent="0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1" i="0" u="none" strike="noStrike" cap="none" spc="-17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0" marR="0" indent="457131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264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395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527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658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789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199920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051" algn="l" defTabSz="2437972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2437972" rtl="0" eaLnBrk="1" latinLnBrk="0" hangingPunct="1">
        <a:lnSpc>
          <a:spcPct val="150000"/>
        </a:lnSpc>
        <a:spcBef>
          <a:spcPts val="12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1pPr>
      <a:lvl2pPr marL="952392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2pPr>
      <a:lvl3pPr marL="1561900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3pPr>
      <a:lvl4pPr marL="2171409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4pPr>
      <a:lvl5pPr marL="2780917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5pPr>
      <a:lvl6pPr marL="3390426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6pPr>
      <a:lvl7pPr marL="3999934" marR="0" indent="-342883" algn="l" defTabSz="2437972" rtl="0" eaLnBrk="1" latinLnBrk="0" hangingPunct="1">
        <a:lnSpc>
          <a:spcPct val="150000"/>
        </a:lnSpc>
        <a:spcBef>
          <a:spcPts val="12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7pPr>
      <a:lvl8pPr marL="4266561" marR="0" indent="0" algn="l" defTabSz="2437972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8pPr>
      <a:lvl9pPr marL="5485578" marR="0" indent="-609510" algn="l" defTabSz="2437972" rtl="0" eaLnBrk="1" latinLnBrk="0" hangingPunct="1">
        <a:lnSpc>
          <a:spcPct val="90000"/>
        </a:lnSpc>
        <a:spcBef>
          <a:spcPts val="4500"/>
        </a:spcBef>
        <a:spcAft>
          <a:spcPts val="0"/>
        </a:spcAft>
        <a:buClrTx/>
        <a:buSzPct val="100000"/>
        <a:buFontTx/>
        <a:buChar char="•"/>
        <a:tabLst/>
        <a:defRPr sz="2500" b="0" i="0" u="none" strike="noStrike" cap="none" spc="0" baseline="0">
          <a:solidFill>
            <a:schemeClr val="tx1"/>
          </a:solidFill>
          <a:uFillTx/>
          <a:latin typeface="Aeonik" panose="020B0503030300000000" pitchFamily="34" charset="0"/>
          <a:ea typeface="+mn-ea"/>
          <a:cs typeface="+mn-cs"/>
          <a:sym typeface="Helvetica Neue"/>
        </a:defRPr>
      </a:lvl9pPr>
    </p:bodyStyle>
    <p:otherStyle>
      <a:lvl1pPr marL="0" marR="0" indent="0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131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264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395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527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5658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2789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199920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051" algn="ctr" defTabSz="58411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5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77.sv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8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8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image" Target="../media/image88.png"/><Relationship Id="rId4" Type="http://schemas.openxmlformats.org/officeDocument/2006/relationships/tags" Target="../tags/tag88.xml"/><Relationship Id="rId9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91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90.png"/><Relationship Id="rId5" Type="http://schemas.openxmlformats.org/officeDocument/2006/relationships/image" Target="../media/image89.jpeg"/><Relationship Id="rId4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5.xml"/><Relationship Id="rId4" Type="http://schemas.openxmlformats.org/officeDocument/2006/relationships/image" Target="../media/image3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oleObject" Target="../embeddings/oleObject7.bin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notesSlide" Target="../notesSlides/notesSlide1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image" Target="../media/image92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1.xml"/><Relationship Id="rId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77.sv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7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7.png"/><Relationship Id="rId18" Type="http://schemas.openxmlformats.org/officeDocument/2006/relationships/image" Target="../media/image51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6.emf"/><Relationship Id="rId17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9.png"/><Relationship Id="rId1" Type="http://schemas.openxmlformats.org/officeDocument/2006/relationships/slideLayout" Target="../slideLayouts/slideLayout201.xml"/><Relationship Id="rId6" Type="http://schemas.openxmlformats.org/officeDocument/2006/relationships/image" Target="../media/image41.png"/><Relationship Id="rId11" Type="http://schemas.microsoft.com/office/2007/relationships/hdphoto" Target="../media/hdphoto1.wdp"/><Relationship Id="rId5" Type="http://schemas.openxmlformats.org/officeDocument/2006/relationships/image" Target="../media/image40.png"/><Relationship Id="rId15" Type="http://schemas.openxmlformats.org/officeDocument/2006/relationships/image" Target="../media/image48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microsoft.com/office/2007/relationships/hdphoto" Target="../media/hdphoto2.wdp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24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4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7" Type="http://schemas.openxmlformats.org/officeDocument/2006/relationships/image" Target="../media/image10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6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2.png"/><Relationship Id="rId5" Type="http://schemas.openxmlformats.org/officeDocument/2006/relationships/slideLayout" Target="../slideLayouts/slideLayout26.xml"/><Relationship Id="rId4" Type="http://schemas.openxmlformats.org/officeDocument/2006/relationships/tags" Target="../tags/tag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56.png"/><Relationship Id="rId3" Type="http://schemas.openxmlformats.org/officeDocument/2006/relationships/tags" Target="../tags/tag19.xml"/><Relationship Id="rId21" Type="http://schemas.openxmlformats.org/officeDocument/2006/relationships/slideLayout" Target="../slideLayouts/slideLayout26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image" Target="../media/image55.png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image" Target="../media/image59.pn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54.png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53.png"/><Relationship Id="rId28" Type="http://schemas.openxmlformats.org/officeDocument/2006/relationships/image" Target="../media/image58.png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image" Target="../media/image61.pn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notesSlide" Target="../notesSlides/notesSlide4.xml"/><Relationship Id="rId27" Type="http://schemas.openxmlformats.org/officeDocument/2006/relationships/image" Target="../media/image57.png"/><Relationship Id="rId30" Type="http://schemas.openxmlformats.org/officeDocument/2006/relationships/image" Target="../media/image60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34" Type="http://schemas.openxmlformats.org/officeDocument/2006/relationships/oleObject" Target="../embeddings/oleObject6.bin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tags" Target="../tags/tag65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32" Type="http://schemas.openxmlformats.org/officeDocument/2006/relationships/slideLayout" Target="../slideLayouts/slideLayout26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31" Type="http://schemas.openxmlformats.org/officeDocument/2006/relationships/tags" Target="../tags/tag67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30" Type="http://schemas.openxmlformats.org/officeDocument/2006/relationships/tags" Target="../tags/tag66.xml"/><Relationship Id="rId35" Type="http://schemas.openxmlformats.org/officeDocument/2006/relationships/image" Target="../media/image62.emf"/><Relationship Id="rId8" Type="http://schemas.openxmlformats.org/officeDocument/2006/relationships/tags" Target="../tags/tag4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66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image" Target="../media/image65.png"/><Relationship Id="rId5" Type="http://schemas.openxmlformats.org/officeDocument/2006/relationships/tags" Target="../tags/tag73.xml"/><Relationship Id="rId10" Type="http://schemas.openxmlformats.org/officeDocument/2006/relationships/image" Target="../media/image64.jpeg"/><Relationship Id="rId4" Type="http://schemas.openxmlformats.org/officeDocument/2006/relationships/tags" Target="../tags/tag72.xml"/><Relationship Id="rId9" Type="http://schemas.openxmlformats.org/officeDocument/2006/relationships/image" Target="../media/image6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image" Target="../media/image68.jpeg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67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D0214F2-5657-D2B6-73BC-04849F53F7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Decarbonizing supply chai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5266C-52D2-4D26-3B12-37D6114BFB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25 June 2025</a:t>
            </a:r>
          </a:p>
        </p:txBody>
      </p:sp>
      <p:pic>
        <p:nvPicPr>
          <p:cNvPr id="5" name="Grafik 7">
            <a:extLst>
              <a:ext uri="{FF2B5EF4-FFF2-40B4-BE49-F238E27FC236}">
                <a16:creationId xmlns:a16="http://schemas.microsoft.com/office/drawing/2014/main" id="{5163BC1D-22AF-6D1A-DD2A-79CC6E52BD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802208" y="3219261"/>
            <a:ext cx="5172092" cy="82063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CC0695-09C4-7CA3-56F7-A4A693A00A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95315" y="4688702"/>
            <a:ext cx="13439471" cy="1770472"/>
          </a:xfrm>
        </p:spPr>
        <p:txBody>
          <a:bodyPr/>
          <a:lstStyle/>
          <a:p>
            <a:r>
              <a:rPr lang="en-US"/>
              <a:t>Siemens fast-tracks GHG reductions with smart, cost-efficient Supplier Engagement </a:t>
            </a:r>
          </a:p>
        </p:txBody>
      </p:sp>
    </p:spTree>
    <p:extLst>
      <p:ext uri="{BB962C8B-B14F-4D97-AF65-F5344CB8AC3E}">
        <p14:creationId xmlns:p14="http://schemas.microsoft.com/office/powerpoint/2010/main" val="1565301832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4" name="Efficient statistical data for a complete overview"/>
          <p:cNvSpPr/>
          <p:nvPr/>
        </p:nvSpPr>
        <p:spPr>
          <a:xfrm>
            <a:off x="1298650" y="5864237"/>
            <a:ext cx="9545296" cy="7256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>
            <a:lvl1pPr defTabSz="457200">
              <a:lnSpc>
                <a:spcPct val="140000"/>
              </a:lnSpc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lvl1pPr>
          </a:lstStyle>
          <a:p>
            <a:pPr marL="0" marR="0" lvl="0" indent="0" algn="ctr" defTabSz="457200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 Regular"/>
                <a:sym typeface="Aeonik Fono Regular"/>
              </a:rPr>
              <a:t>Efficient statistical data for a complete overview</a:t>
            </a:r>
          </a:p>
        </p:txBody>
      </p:sp>
      <p:sp>
        <p:nvSpPr>
          <p:cNvPr id="3045" name="Relevant supplier survey data for actionable insights"/>
          <p:cNvSpPr/>
          <p:nvPr/>
        </p:nvSpPr>
        <p:spPr>
          <a:xfrm>
            <a:off x="13453162" y="5860461"/>
            <a:ext cx="9716780" cy="8459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>
            <a:lvl1pPr defTabSz="457200">
              <a:lnSpc>
                <a:spcPct val="140000"/>
              </a:lnSpc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lvl1pPr>
          </a:lstStyle>
          <a:p>
            <a:pPr marL="0" marR="0" lvl="0" indent="0" algn="ctr" defTabSz="457200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 Regular"/>
                <a:sym typeface="Aeonik Fono Regular"/>
              </a:rPr>
              <a:t>Relevant supplier survey data for actionable insights</a:t>
            </a:r>
          </a:p>
        </p:txBody>
      </p:sp>
      <p:sp>
        <p:nvSpPr>
          <p:cNvPr id="3046" name="One solution in two products: matter+s quantifies a baseline impact – scalable, low effort and almost instantly. supplier+s adds the relevant insights – comparable, timely and actionable."/>
          <p:cNvSpPr txBox="1"/>
          <p:nvPr/>
        </p:nvSpPr>
        <p:spPr>
          <a:xfrm>
            <a:off x="1324805" y="3165743"/>
            <a:ext cx="20712236" cy="11258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>
            <a:lvl1pPr algn="l" defTabSz="457200">
              <a:lnSpc>
                <a:spcPct val="160000"/>
              </a:lnSpc>
              <a:defRPr sz="2200" spc="-22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pc="0"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em+s</a:t>
            </a:r>
            <a:r>
              <a:rPr kumimoji="0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quantifies a baseline impact – scalable, low effort and almost instantly. </a:t>
            </a:r>
            <a:endParaRPr kumimoji="0" lang="de-DE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457200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pc="0"/>
            </a:pPr>
            <a:r>
              <a:rPr kumimoji="0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supplier+s adds the relevant insights – comparable, timely and actionable. </a:t>
            </a:r>
          </a:p>
        </p:txBody>
      </p:sp>
      <p:sp>
        <p:nvSpPr>
          <p:cNvPr id="3047" name="Take the shortcut."/>
          <p:cNvSpPr txBox="1"/>
          <p:nvPr/>
        </p:nvSpPr>
        <p:spPr>
          <a:xfrm>
            <a:off x="1274637" y="1072004"/>
            <a:ext cx="20712236" cy="16414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ctrl+s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: one solution in two products.</a:t>
            </a: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Medium"/>
              <a:sym typeface="Aeonik Medium"/>
            </a:endParaRPr>
          </a:p>
        </p:txBody>
      </p:sp>
      <p:sp>
        <p:nvSpPr>
          <p:cNvPr id="2" name="Rechteck">
            <a:extLst>
              <a:ext uri="{FF2B5EF4-FFF2-40B4-BE49-F238E27FC236}">
                <a16:creationId xmlns:a16="http://schemas.microsoft.com/office/drawing/2014/main" id="{F057E096-B3A6-0641-5E2B-E1EDB056DC7A}"/>
              </a:ext>
            </a:extLst>
          </p:cNvPr>
          <p:cNvSpPr/>
          <p:nvPr/>
        </p:nvSpPr>
        <p:spPr>
          <a:xfrm>
            <a:off x="-9761" y="6633831"/>
            <a:ext cx="12162119" cy="7349179"/>
          </a:xfrm>
          <a:prstGeom prst="roundRect">
            <a:avLst>
              <a:gd name="adj" fmla="val 0"/>
            </a:avLst>
          </a:prstGeom>
          <a:solidFill>
            <a:srgbClr val="000000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marL="0" marR="0" lvl="0" indent="0" algn="ctr" defTabSz="4571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>
                <a:solidFill>
                  <a:srgbClr val="FFFFFF"/>
                </a:solidFill>
                <a:latin typeface="AeonikFono-Bold"/>
                <a:ea typeface="AeonikFono-Bold"/>
                <a:cs typeface="AeonikFono-Bold"/>
                <a:sym typeface="AeonikFono-Bold"/>
              </a:defRPr>
            </a:pPr>
            <a:endParaRPr kumimoji="0" sz="2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eonikFono-Bold"/>
              <a:sym typeface="AeonikFono-Bold"/>
            </a:endParaRPr>
          </a:p>
        </p:txBody>
      </p:sp>
      <p:sp>
        <p:nvSpPr>
          <p:cNvPr id="3" name="Rechteck">
            <a:extLst>
              <a:ext uri="{FF2B5EF4-FFF2-40B4-BE49-F238E27FC236}">
                <a16:creationId xmlns:a16="http://schemas.microsoft.com/office/drawing/2014/main" id="{FBBE05C6-A3FE-5AC2-5E4D-D8091F2088EE}"/>
              </a:ext>
            </a:extLst>
          </p:cNvPr>
          <p:cNvSpPr/>
          <p:nvPr/>
        </p:nvSpPr>
        <p:spPr>
          <a:xfrm>
            <a:off x="12236333" y="6633831"/>
            <a:ext cx="12150437" cy="7349179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marL="0" marR="0" lvl="0" indent="0" algn="ctr" defTabSz="4571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>
                <a:solidFill>
                  <a:srgbClr val="000000"/>
                </a:solidFill>
                <a:latin typeface="AeonikFono-Bold"/>
                <a:ea typeface="AeonikFono-Bold"/>
                <a:cs typeface="AeonikFono-Bold"/>
                <a:sym typeface="AeonikFono-Bold"/>
              </a:defRPr>
            </a:pPr>
            <a:endParaRPr kumimoji="0" sz="2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Fono-Bold"/>
              <a:sym typeface="AeonikFono-Bold"/>
            </a:endParaRPr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BAB8D446-4951-E444-823C-24235CD185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14483" y="9884313"/>
            <a:ext cx="5994138" cy="11263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Grafik 6" descr="Ein Bild, das Logo, Schrift, Symbol, Grafiken enthält.&#10;&#10;Automatisch generierte Beschreibung">
            <a:extLst>
              <a:ext uri="{FF2B5EF4-FFF2-40B4-BE49-F238E27FC236}">
                <a16:creationId xmlns:a16="http://schemas.microsoft.com/office/drawing/2014/main" id="{FA39E2B0-B44B-BE2D-7CFF-8D3B842481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62" y="9884313"/>
            <a:ext cx="4749800" cy="1117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C5D42-F482-B30C-50E4-B3DBAEA21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4" name="iPad-matters.jpg" descr="iPad-matters.jpg">
            <a:extLst>
              <a:ext uri="{FF2B5EF4-FFF2-40B4-BE49-F238E27FC236}">
                <a16:creationId xmlns:a16="http://schemas.microsoft.com/office/drawing/2014/main" id="{15FF8D0C-0426-C24F-78E8-D7BE5756BD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11245568" y="591713"/>
            <a:ext cx="13284235" cy="12989455"/>
          </a:xfrm>
          <a:prstGeom prst="rect">
            <a:avLst/>
          </a:prstGeom>
          <a:ln w="12700">
            <a:miter lim="400000"/>
          </a:ln>
        </p:spPr>
      </p:pic>
      <p:pic>
        <p:nvPicPr>
          <p:cNvPr id="3065" name="Bild" descr="Bild">
            <a:extLst>
              <a:ext uri="{FF2B5EF4-FFF2-40B4-BE49-F238E27FC236}">
                <a16:creationId xmlns:a16="http://schemas.microsoft.com/office/drawing/2014/main" id="{69943611-D8FB-410B-92A3-3ECD963728C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5168" y="1269665"/>
            <a:ext cx="2635804" cy="495269"/>
          </a:xfrm>
          <a:prstGeom prst="rect">
            <a:avLst/>
          </a:prstGeom>
          <a:ln w="12700">
            <a:miter lim="400000"/>
          </a:ln>
        </p:spPr>
      </p:pic>
      <p:sp>
        <p:nvSpPr>
          <p:cNvPr id="3066" name="Offers best-in-class resolution of more than 400 industry sectors, more than 5.000 products and all 257 countries within a consistent model.">
            <a:extLst>
              <a:ext uri="{FF2B5EF4-FFF2-40B4-BE49-F238E27FC236}">
                <a16:creationId xmlns:a16="http://schemas.microsoft.com/office/drawing/2014/main" id="{7046BFAA-7C06-DFD5-CE55-3F9A40EA542C}"/>
              </a:ext>
            </a:extLst>
          </p:cNvPr>
          <p:cNvSpPr txBox="1"/>
          <p:nvPr/>
        </p:nvSpPr>
        <p:spPr>
          <a:xfrm>
            <a:off x="2514911" y="2674892"/>
            <a:ext cx="8080220" cy="91951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>
            <a:spAutoFit/>
          </a:bodyPr>
          <a:lstStyle/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complete: We cover more than 500 industry sectors and all 250 countries – and their impacts along the entire supply chain, all the way down to raw material extraction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fair: A consistent model that evaluates all countries and sectors with the same method allows for a fair comparison of impacts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granular: Best-in-class resolution allows detailed drill downs into hot-spots and identifies root causes.</a:t>
            </a:r>
            <a:endParaRPr kumimoji="0" lang="en-US" sz="2500" b="0" i="0" u="none" strike="sng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sng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feasible: Harvesting readily available procurement data, </a:t>
            </a:r>
            <a:r>
              <a:rPr kumimoji="0" lang="en-US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em+s</a:t>
            </a: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is time and cost efficient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adaptive: Let your consultants handle the data, use our BI dashboards or go for an automated integration into your systems with custom APIs.</a:t>
            </a:r>
          </a:p>
        </p:txBody>
      </p:sp>
      <p:sp>
        <p:nvSpPr>
          <p:cNvPr id="3186" name="Abgerundetes Rechteck">
            <a:extLst>
              <a:ext uri="{FF2B5EF4-FFF2-40B4-BE49-F238E27FC236}">
                <a16:creationId xmlns:a16="http://schemas.microsoft.com/office/drawing/2014/main" id="{643AF934-799E-3BF9-13E0-9B864F579EBB}"/>
              </a:ext>
            </a:extLst>
          </p:cNvPr>
          <p:cNvSpPr/>
          <p:nvPr/>
        </p:nvSpPr>
        <p:spPr>
          <a:xfrm>
            <a:off x="1345383" y="5010515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2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189" name="Abgerundetes Rechteck">
            <a:extLst>
              <a:ext uri="{FF2B5EF4-FFF2-40B4-BE49-F238E27FC236}">
                <a16:creationId xmlns:a16="http://schemas.microsoft.com/office/drawing/2014/main" id="{28C3EB11-D527-0CC1-B341-F1A885D2BEA6}"/>
              </a:ext>
            </a:extLst>
          </p:cNvPr>
          <p:cNvSpPr/>
          <p:nvPr/>
        </p:nvSpPr>
        <p:spPr>
          <a:xfrm>
            <a:off x="1345383" y="7173180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3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190" name="Abgerundetes Rechteck">
            <a:extLst>
              <a:ext uri="{FF2B5EF4-FFF2-40B4-BE49-F238E27FC236}">
                <a16:creationId xmlns:a16="http://schemas.microsoft.com/office/drawing/2014/main" id="{027B7120-AB5B-3169-BF2A-E0382928046D}"/>
              </a:ext>
            </a:extLst>
          </p:cNvPr>
          <p:cNvSpPr/>
          <p:nvPr/>
        </p:nvSpPr>
        <p:spPr>
          <a:xfrm>
            <a:off x="1340886" y="8764407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4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191" name="Abgerundetes Rechteck">
            <a:extLst>
              <a:ext uri="{FF2B5EF4-FFF2-40B4-BE49-F238E27FC236}">
                <a16:creationId xmlns:a16="http://schemas.microsoft.com/office/drawing/2014/main" id="{7CABC72B-7611-EE23-84FE-BE6828BEBE02}"/>
              </a:ext>
            </a:extLst>
          </p:cNvPr>
          <p:cNvSpPr/>
          <p:nvPr/>
        </p:nvSpPr>
        <p:spPr>
          <a:xfrm>
            <a:off x="1336390" y="10368334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5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192" name="Abgerundetes Rechteck">
            <a:extLst>
              <a:ext uri="{FF2B5EF4-FFF2-40B4-BE49-F238E27FC236}">
                <a16:creationId xmlns:a16="http://schemas.microsoft.com/office/drawing/2014/main" id="{0D3A7497-6C04-9FEB-F28A-B4FE4C52C64E}"/>
              </a:ext>
            </a:extLst>
          </p:cNvPr>
          <p:cNvSpPr/>
          <p:nvPr/>
        </p:nvSpPr>
        <p:spPr>
          <a:xfrm>
            <a:off x="1345383" y="2868043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1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4" name="Grafik 4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82902F1D-F32F-5C27-BE07-51281E3E74C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045" y="1383781"/>
            <a:ext cx="2697991" cy="63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1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0D92C-624A-7B54-5EBC-69CC7633E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spreadsheet&#10;&#10;Description automatically generated">
            <a:extLst>
              <a:ext uri="{FF2B5EF4-FFF2-40B4-BE49-F238E27FC236}">
                <a16:creationId xmlns:a16="http://schemas.microsoft.com/office/drawing/2014/main" id="{1AFCD3AB-488F-E0C0-8B1C-71185C05170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7992" y="3332232"/>
            <a:ext cx="22642826" cy="83576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A509B3-8960-D8F6-4D9F-425964207D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err="1"/>
              <a:t>item+s</a:t>
            </a:r>
            <a:r>
              <a:rPr lang="en-GB"/>
              <a:t> works by mapping procurement spend data to proprietary region- and sector-specific emission factors.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EEE3780-29EF-0A9A-C77D-3E10295C6545}"/>
              </a:ext>
            </a:extLst>
          </p:cNvPr>
          <p:cNvSpPr txBox="1"/>
          <p:nvPr/>
        </p:nvSpPr>
        <p:spPr>
          <a:xfrm>
            <a:off x="7950078" y="11995378"/>
            <a:ext cx="3402736" cy="1068726"/>
          </a:xfrm>
          <a:prstGeom prst="rect">
            <a:avLst/>
          </a:prstGeom>
          <a:noFill/>
          <a:ln>
            <a:noFill/>
          </a:ln>
        </p:spPr>
        <p:txBody>
          <a:bodyPr wrap="square" lIns="71995" tIns="71995" rIns="71995" bIns="71995" rtlCol="0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Fago Offc Pro"/>
                <a:sym typeface="Helvetica Neue"/>
              </a:rPr>
              <a:t>Mapping to economic sectors of input-output-mod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B3E3EE-F833-F1E7-5EAD-9F4C3245376E}"/>
              </a:ext>
            </a:extLst>
          </p:cNvPr>
          <p:cNvSpPr/>
          <p:nvPr/>
        </p:nvSpPr>
        <p:spPr>
          <a:xfrm>
            <a:off x="7333129" y="3528438"/>
            <a:ext cx="3065930" cy="8353967"/>
          </a:xfrm>
          <a:prstGeom prst="rect">
            <a:avLst/>
          </a:prstGeom>
          <a:noFill/>
          <a:ln w="476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1" tIns="143991" rIns="143991" bIns="143991" rtlCol="0" anchor="ctr">
            <a:noAutofit/>
          </a:bodyPr>
          <a:lstStyle/>
          <a:p>
            <a:pPr marL="0" marR="0" lvl="0" indent="0" algn="ctr" defTabSz="243833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uisse Int'l Mono" panose="020B0509000000000000" pitchFamily="49" charset="77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67B6E61-CA64-282E-B5CA-11409B51FED9}"/>
              </a:ext>
            </a:extLst>
          </p:cNvPr>
          <p:cNvSpPr txBox="1"/>
          <p:nvPr/>
        </p:nvSpPr>
        <p:spPr>
          <a:xfrm>
            <a:off x="13285694" y="11995378"/>
            <a:ext cx="3180131" cy="1068726"/>
          </a:xfrm>
          <a:prstGeom prst="rect">
            <a:avLst/>
          </a:prstGeom>
          <a:noFill/>
          <a:ln>
            <a:noFill/>
          </a:ln>
        </p:spPr>
        <p:txBody>
          <a:bodyPr wrap="square" lIns="71995" tIns="71995" rIns="71995" bIns="71995" rtlCol="0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Fago Offc Pro"/>
                <a:sym typeface="Helvetica Neue"/>
              </a:rPr>
              <a:t>Mapping to country/region of input-output model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9A85750-6AEB-9D73-C53A-6DEB99ACFCA1}"/>
              </a:ext>
            </a:extLst>
          </p:cNvPr>
          <p:cNvSpPr/>
          <p:nvPr/>
        </p:nvSpPr>
        <p:spPr>
          <a:xfrm>
            <a:off x="14451106" y="3528438"/>
            <a:ext cx="1704159" cy="8353967"/>
          </a:xfrm>
          <a:prstGeom prst="rect">
            <a:avLst/>
          </a:prstGeom>
          <a:noFill/>
          <a:ln w="476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1" tIns="143991" rIns="143991" bIns="143991" rtlCol="0" anchor="ctr">
            <a:noAutofit/>
          </a:bodyPr>
          <a:lstStyle/>
          <a:p>
            <a:pPr marL="0" marR="0" lvl="0" indent="0" algn="ctr" defTabSz="243833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uisse Int'l Mono" panose="020B0509000000000000" pitchFamily="49" charset="77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" name="Textfeld 5">
            <a:extLst>
              <a:ext uri="{FF2B5EF4-FFF2-40B4-BE49-F238E27FC236}">
                <a16:creationId xmlns:a16="http://schemas.microsoft.com/office/drawing/2014/main" id="{F6C15DFD-FBEE-18D4-0315-050E52A93EB5}"/>
              </a:ext>
            </a:extLst>
          </p:cNvPr>
          <p:cNvSpPr txBox="1"/>
          <p:nvPr/>
        </p:nvSpPr>
        <p:spPr>
          <a:xfrm>
            <a:off x="17716388" y="11995378"/>
            <a:ext cx="4616948" cy="1068727"/>
          </a:xfrm>
          <a:prstGeom prst="rect">
            <a:avLst/>
          </a:prstGeom>
          <a:noFill/>
        </p:spPr>
        <p:txBody>
          <a:bodyPr wrap="square" lIns="71995" tIns="71995" rIns="71995" bIns="71995" rtlCol="0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Fago Offc Pro"/>
                <a:sym typeface="Helvetica Neue"/>
              </a:rPr>
              <a:t>Multiplication with country and sector specific footprint factor from model (e.g. kg CO2eq / EUR)</a:t>
            </a:r>
          </a:p>
        </p:txBody>
      </p:sp>
      <p:sp>
        <p:nvSpPr>
          <p:cNvPr id="4" name="Rechteck 11">
            <a:extLst>
              <a:ext uri="{FF2B5EF4-FFF2-40B4-BE49-F238E27FC236}">
                <a16:creationId xmlns:a16="http://schemas.microsoft.com/office/drawing/2014/main" id="{0F3EEDF5-1399-399C-A84E-234600225D04}"/>
              </a:ext>
            </a:extLst>
          </p:cNvPr>
          <p:cNvSpPr/>
          <p:nvPr/>
        </p:nvSpPr>
        <p:spPr>
          <a:xfrm>
            <a:off x="16155265" y="3528438"/>
            <a:ext cx="1446935" cy="8353967"/>
          </a:xfrm>
          <a:prstGeom prst="rect">
            <a:avLst/>
          </a:prstGeom>
          <a:noFill/>
          <a:ln w="476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1" tIns="143991" rIns="143991" bIns="143991" rtlCol="0" anchor="ctr">
            <a:noAutofit/>
          </a:bodyPr>
          <a:lstStyle/>
          <a:p>
            <a:pPr marL="0" marR="0" lvl="0" indent="0" algn="ctr" defTabSz="243833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uisse Int'l Mono" panose="020B0509000000000000" pitchFamily="49" charset="77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7DD97F9-8001-743F-5B91-13EDAA0D8D7C}"/>
              </a:ext>
            </a:extLst>
          </p:cNvPr>
          <p:cNvSpPr/>
          <p:nvPr/>
        </p:nvSpPr>
        <p:spPr>
          <a:xfrm>
            <a:off x="6954254" y="12145513"/>
            <a:ext cx="770021" cy="768456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E151687-B829-5A80-ED56-0D7D6FEF9E33}"/>
              </a:ext>
            </a:extLst>
          </p:cNvPr>
          <p:cNvSpPr/>
          <p:nvPr/>
        </p:nvSpPr>
        <p:spPr>
          <a:xfrm>
            <a:off x="12438305" y="12145513"/>
            <a:ext cx="770021" cy="768456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F3277ED-D23B-5214-F663-30AB10E375B9}"/>
              </a:ext>
            </a:extLst>
          </p:cNvPr>
          <p:cNvSpPr/>
          <p:nvPr/>
        </p:nvSpPr>
        <p:spPr>
          <a:xfrm>
            <a:off x="16836869" y="12145513"/>
            <a:ext cx="770021" cy="768456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487D3D-3E08-6647-97E9-9208CB3C6319}"/>
              </a:ext>
            </a:extLst>
          </p:cNvPr>
          <p:cNvSpPr/>
          <p:nvPr/>
        </p:nvSpPr>
        <p:spPr>
          <a:xfrm>
            <a:off x="17602200" y="3108960"/>
            <a:ext cx="6477000" cy="888641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2426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2" grpId="0" animBg="1"/>
      <p:bldP spid="7" grpId="0"/>
      <p:bldP spid="18" grpId="0" animBg="1"/>
      <p:bldP spid="2" grpId="0"/>
      <p:bldP spid="4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69973-8596-3F43-8608-32839A794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6" name="Bild" descr="Bild">
            <a:extLst>
              <a:ext uri="{FF2B5EF4-FFF2-40B4-BE49-F238E27FC236}">
                <a16:creationId xmlns:a16="http://schemas.microsoft.com/office/drawing/2014/main" id="{CB570D5C-5FD2-C0B0-48EF-ED10760F2E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5168" y="1269665"/>
            <a:ext cx="2635804" cy="495269"/>
          </a:xfrm>
          <a:prstGeom prst="rect">
            <a:avLst/>
          </a:prstGeom>
          <a:ln w="12700">
            <a:miter lim="400000"/>
          </a:ln>
        </p:spPr>
      </p:pic>
      <p:sp>
        <p:nvSpPr>
          <p:cNvPr id="3097" name="Offers best-in-class resolution of more than 400 industry sectors, more than 5.000 products and all 257 countries within a consistent model.">
            <a:extLst>
              <a:ext uri="{FF2B5EF4-FFF2-40B4-BE49-F238E27FC236}">
                <a16:creationId xmlns:a16="http://schemas.microsoft.com/office/drawing/2014/main" id="{580FE64B-3961-BC33-84C9-983321D918B7}"/>
              </a:ext>
            </a:extLst>
          </p:cNvPr>
          <p:cNvSpPr txBox="1"/>
          <p:nvPr/>
        </p:nvSpPr>
        <p:spPr>
          <a:xfrm>
            <a:off x="2272145" y="2674891"/>
            <a:ext cx="9144000" cy="102723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>
            <a:spAutoFit/>
          </a:bodyPr>
          <a:lstStyle/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timely: Suppliers receive instant feedback about their reduction performance and lead firms have immediate access to suppliers‘ results – without delay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scalable : It doesn‘t matter whether you invite 10 suppliers or 10,000 – the platform onboards, reminds and assesses for you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feasible: The assessment consists of 19 questions tuned to each supplier’s specific business model – no more burden than necessary on your suppliers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’s motivating: The platform motivates your suppliers to continue reducing emissions all by themselves – instructive e-learning chapters on every value chain step fuel new reductions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’s safe: We do not ask your supplier for sensitive data and take data security extremely seriously. Our servers are located in Germany and are certified (ISO27001 / SOC 2 Type II / SOC 1 Type II).</a:t>
            </a:r>
          </a:p>
        </p:txBody>
      </p:sp>
      <p:pic>
        <p:nvPicPr>
          <p:cNvPr id="3103" name="Bild" descr="Bild">
            <a:extLst>
              <a:ext uri="{FF2B5EF4-FFF2-40B4-BE49-F238E27FC236}">
                <a16:creationId xmlns:a16="http://schemas.microsoft.com/office/drawing/2014/main" id="{DC7550B2-ABDE-ED38-5A30-AF7EDAEBD48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1424" y="1382942"/>
            <a:ext cx="3379063" cy="6349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7E4F4CB9-48CE-D1D1-D88B-5FD88246421A}"/>
              </a:ext>
            </a:extLst>
          </p:cNvPr>
          <p:cNvSpPr/>
          <p:nvPr/>
        </p:nvSpPr>
        <p:spPr>
          <a:xfrm>
            <a:off x="1345383" y="5031595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2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2BEDDD22-08BD-B4D7-B478-3D166DDAF1DE}"/>
              </a:ext>
            </a:extLst>
          </p:cNvPr>
          <p:cNvSpPr/>
          <p:nvPr/>
        </p:nvSpPr>
        <p:spPr>
          <a:xfrm>
            <a:off x="1345383" y="6622513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3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Abgerundetes Rechteck">
            <a:extLst>
              <a:ext uri="{FF2B5EF4-FFF2-40B4-BE49-F238E27FC236}">
                <a16:creationId xmlns:a16="http://schemas.microsoft.com/office/drawing/2014/main" id="{67E53ABD-2AB2-5847-083B-FDD59CD8C5A2}"/>
              </a:ext>
            </a:extLst>
          </p:cNvPr>
          <p:cNvSpPr/>
          <p:nvPr/>
        </p:nvSpPr>
        <p:spPr>
          <a:xfrm>
            <a:off x="1340886" y="8761177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4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CC200BC0-4949-19C0-F329-881B721AD979}"/>
              </a:ext>
            </a:extLst>
          </p:cNvPr>
          <p:cNvSpPr/>
          <p:nvPr/>
        </p:nvSpPr>
        <p:spPr>
          <a:xfrm>
            <a:off x="1336390" y="10892263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5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Abgerundetes Rechteck">
            <a:extLst>
              <a:ext uri="{FF2B5EF4-FFF2-40B4-BE49-F238E27FC236}">
                <a16:creationId xmlns:a16="http://schemas.microsoft.com/office/drawing/2014/main" id="{39D20B54-7918-DB21-4280-D034BCA56B89}"/>
              </a:ext>
            </a:extLst>
          </p:cNvPr>
          <p:cNvSpPr/>
          <p:nvPr/>
        </p:nvSpPr>
        <p:spPr>
          <a:xfrm>
            <a:off x="1345383" y="2868043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1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9213959-14FE-0B3C-6DDA-AA629D1CFD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719229" y="1692336"/>
            <a:ext cx="12764294" cy="10710731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6418B9F0-5C8E-EB6F-55FF-9FA8DF9B4BFA}"/>
              </a:ext>
            </a:extLst>
          </p:cNvPr>
          <p:cNvSpPr/>
          <p:nvPr/>
        </p:nvSpPr>
        <p:spPr>
          <a:xfrm>
            <a:off x="12191205" y="3370520"/>
            <a:ext cx="10647529" cy="7102549"/>
          </a:xfrm>
          <a:prstGeom prst="roundRect">
            <a:avLst>
              <a:gd name="adj" fmla="val 3194"/>
            </a:avLst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50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0" name="Picture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AD9D3C5-13E9-486E-13D2-98581CE346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69941" y="3521979"/>
            <a:ext cx="10765488" cy="665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877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6D4F72-46F9-5874-1A15-1BC15A02CA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32C825-20E9-7B4A-7EC7-B7A1F19947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856415C-733E-62D3-0332-7BFC7044DB9E}"/>
              </a:ext>
            </a:extLst>
          </p:cNvPr>
          <p:cNvSpPr/>
          <p:nvPr/>
        </p:nvSpPr>
        <p:spPr>
          <a:xfrm rot="16200000" flipH="1" flipV="1">
            <a:off x="10359719" y="-10294493"/>
            <a:ext cx="2108063" cy="22697950"/>
          </a:xfrm>
          <a:prstGeom prst="rect">
            <a:avLst/>
          </a:prstGeom>
          <a:gradFill>
            <a:gsLst>
              <a:gs pos="6000">
                <a:schemeClr val="bg2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6B7BA7-3E9F-EBA9-E1B8-2E6438788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6" y="957984"/>
            <a:ext cx="22697950" cy="1151925"/>
          </a:xfrm>
        </p:spPr>
        <p:txBody>
          <a:bodyPr/>
          <a:lstStyle/>
          <a:p>
            <a:r>
              <a:rPr lang="en-US"/>
              <a:t>DECISION MAKING: “</a:t>
            </a:r>
            <a:r>
              <a:rPr lang="en-US" err="1"/>
              <a:t>supplier+s</a:t>
            </a:r>
            <a:r>
              <a:rPr lang="en-US"/>
              <a:t>” allows companies to define their individual net zero path and buyers to make a sourcing decision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2E6F624-638B-1D4E-4261-5AA22432ACC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09009" y="3798756"/>
            <a:ext cx="4387246" cy="1179765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3DC9E7E1-E64C-4F96-07C1-3F877E31C900}"/>
              </a:ext>
            </a:extLst>
          </p:cNvPr>
          <p:cNvSpPr txBox="1">
            <a:spLocks/>
          </p:cNvSpPr>
          <p:nvPr/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 marL="0" marR="0" indent="0" algn="l" defTabSz="182870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91435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1828709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2743063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3657417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4571771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5486126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640048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731483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  <p:pic>
        <p:nvPicPr>
          <p:cNvPr id="10" name="Picture 9" descr="A diagram of a factory&#10;&#10;AI-generated content may be incorrect.">
            <a:extLst>
              <a:ext uri="{FF2B5EF4-FFF2-40B4-BE49-F238E27FC236}">
                <a16:creationId xmlns:a16="http://schemas.microsoft.com/office/drawing/2014/main" id="{1F731F8C-F25A-A885-7A69-6562476149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746" y="2484729"/>
            <a:ext cx="17024802" cy="1001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2129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CDD2E-A450-FDFD-693A-A99A560BB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71C6C0-095C-2D35-E3B3-001A75C3AD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E14D75-2384-D02E-A541-12E58439BFF7}"/>
              </a:ext>
            </a:extLst>
          </p:cNvPr>
          <p:cNvSpPr/>
          <p:nvPr/>
        </p:nvSpPr>
        <p:spPr>
          <a:xfrm rot="16200000" flipH="1" flipV="1">
            <a:off x="10359719" y="-10294493"/>
            <a:ext cx="2108063" cy="22697950"/>
          </a:xfrm>
          <a:prstGeom prst="rect">
            <a:avLst/>
          </a:prstGeom>
          <a:gradFill>
            <a:gsLst>
              <a:gs pos="6000">
                <a:schemeClr val="bg2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199B49-3ED2-CF0F-3811-05FB2BB6F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6" y="957984"/>
            <a:ext cx="22697950" cy="1151925"/>
          </a:xfrm>
        </p:spPr>
        <p:txBody>
          <a:bodyPr/>
          <a:lstStyle/>
          <a:p>
            <a:r>
              <a:rPr lang="en-US"/>
              <a:t>DECISION MAKING: “supplier+s” allows companies to define their individual net zero path and buyers to make a sourcing decision</a:t>
            </a:r>
            <a:endParaRPr lang="de-D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FFA5309-3815-9073-9531-60931E4CF85D}"/>
              </a:ext>
            </a:extLst>
          </p:cNvPr>
          <p:cNvSpPr txBox="1">
            <a:spLocks/>
          </p:cNvSpPr>
          <p:nvPr/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 marL="0" marR="0" indent="0" algn="l" defTabSz="182870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91435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1828709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2743063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3657417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4571771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5486126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640048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731483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  <p:pic>
        <p:nvPicPr>
          <p:cNvPr id="3" name="Picture 2" descr="A diagram of a factory&#10;&#10;AI-generated content may be incorrect.">
            <a:extLst>
              <a:ext uri="{FF2B5EF4-FFF2-40B4-BE49-F238E27FC236}">
                <a16:creationId xmlns:a16="http://schemas.microsoft.com/office/drawing/2014/main" id="{F337F681-0A4F-BCFE-A503-699412148D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746" y="2484729"/>
            <a:ext cx="17024802" cy="10017996"/>
          </a:xfrm>
          <a:prstGeom prst="rect">
            <a:avLst/>
          </a:prstGeom>
        </p:spPr>
      </p:pic>
      <p:pic>
        <p:nvPicPr>
          <p:cNvPr id="10" name="Picture 9" descr="A graph with text and numbers&#10;&#10;AI-generated content may be incorrect.">
            <a:extLst>
              <a:ext uri="{FF2B5EF4-FFF2-40B4-BE49-F238E27FC236}">
                <a16:creationId xmlns:a16="http://schemas.microsoft.com/office/drawing/2014/main" id="{8B14C53B-25F4-2D4B-469E-022835C73A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14117" y="4672862"/>
            <a:ext cx="7458944" cy="1959876"/>
          </a:xfrm>
          <a:prstGeom prst="roundRect">
            <a:avLst>
              <a:gd name="adj" fmla="val 10944"/>
            </a:avLst>
          </a:prstGeom>
          <a:ln w="3810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4581497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B7A547-3D65-62F8-EF00-5AF7270F5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C63746-4E12-123D-FE51-C0D1BB2C56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he supplier+s platform flexibly adapts to the maturity of suppliers and allows to account for scope 3 based on very limited supplier data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A05ED4F6-1793-E692-24C3-5D75F6CF4DD0}"/>
              </a:ext>
            </a:extLst>
          </p:cNvPr>
          <p:cNvCxnSpPr>
            <a:cxnSpLocks/>
          </p:cNvCxnSpPr>
          <p:nvPr/>
        </p:nvCxnSpPr>
        <p:spPr>
          <a:xfrm flipV="1">
            <a:off x="3636345" y="5066104"/>
            <a:ext cx="0" cy="4666290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878E039B-1215-7F49-E3C0-CAD801373660}"/>
              </a:ext>
            </a:extLst>
          </p:cNvPr>
          <p:cNvCxnSpPr>
            <a:cxnSpLocks/>
          </p:cNvCxnSpPr>
          <p:nvPr/>
        </p:nvCxnSpPr>
        <p:spPr>
          <a:xfrm>
            <a:off x="3342072" y="9501176"/>
            <a:ext cx="15365124" cy="0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C36931BF-8B2E-281A-96A1-C94F285A6858}"/>
              </a:ext>
            </a:extLst>
          </p:cNvPr>
          <p:cNvSpPr txBox="1"/>
          <p:nvPr/>
        </p:nvSpPr>
        <p:spPr>
          <a:xfrm>
            <a:off x="508643" y="3664391"/>
            <a:ext cx="2963719" cy="16824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Data quality and coverage/ cost of data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E1B643B-9544-E278-BF1D-C696FD63AEB0}"/>
              </a:ext>
            </a:extLst>
          </p:cNvPr>
          <p:cNvSpPr txBox="1"/>
          <p:nvPr/>
        </p:nvSpPr>
        <p:spPr>
          <a:xfrm>
            <a:off x="19001469" y="9730305"/>
            <a:ext cx="2963719" cy="11900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Maturity and capability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3EF3D82-DDCD-AADF-5AC4-A7FEA23E1D41}"/>
              </a:ext>
            </a:extLst>
          </p:cNvPr>
          <p:cNvSpPr/>
          <p:nvPr/>
        </p:nvSpPr>
        <p:spPr>
          <a:xfrm>
            <a:off x="3699402" y="8702447"/>
            <a:ext cx="14566390" cy="714655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ctr">
            <a:noAutofit/>
          </a:bodyPr>
          <a:lstStyle/>
          <a:p>
            <a:pPr marL="0" marR="0" lvl="0" indent="0" algn="ctr" defTabSz="1650917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Fallback – industry / product average (</a:t>
            </a:r>
            <a:r>
              <a:rPr kumimoji="0" lang="en-US" sz="28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item+s</a:t>
            </a: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)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0ED0BC1-AB2D-27EB-4998-362588325264}"/>
              </a:ext>
            </a:extLst>
          </p:cNvPr>
          <p:cNvSpPr/>
          <p:nvPr/>
        </p:nvSpPr>
        <p:spPr>
          <a:xfrm>
            <a:off x="6600068" y="7911695"/>
            <a:ext cx="11665720" cy="714655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ctr">
            <a:noAutofit/>
          </a:bodyPr>
          <a:lstStyle/>
          <a:p>
            <a:pPr marL="0" marR="0" lvl="0" indent="0" algn="ctr" defTabSz="1650917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Carbon performance based on abatement measure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946DD2-8685-8813-6F38-AC8BFEBF1199}"/>
              </a:ext>
            </a:extLst>
          </p:cNvPr>
          <p:cNvSpPr/>
          <p:nvPr/>
        </p:nvSpPr>
        <p:spPr>
          <a:xfrm>
            <a:off x="9500740" y="7120944"/>
            <a:ext cx="8765047" cy="714655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ctr">
            <a:noAutofit/>
          </a:bodyPr>
          <a:lstStyle/>
          <a:p>
            <a:pPr marL="0" marR="0" lvl="0" indent="0" algn="ctr" defTabSz="1650917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CCF* (ready / calculated in tool)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A8AD41B-5051-96B1-B5C3-22AFA135C071}"/>
              </a:ext>
            </a:extLst>
          </p:cNvPr>
          <p:cNvSpPr/>
          <p:nvPr/>
        </p:nvSpPr>
        <p:spPr>
          <a:xfrm>
            <a:off x="12432930" y="6330194"/>
            <a:ext cx="5832856" cy="714655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ctr">
            <a:noAutofit/>
          </a:bodyPr>
          <a:lstStyle/>
          <a:p>
            <a:pPr marL="0" marR="0" lvl="0" indent="0" algn="ctr" defTabSz="1650917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PCF**</a:t>
            </a: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2F457C5-AAA2-CDFD-2E08-C398BE45E725}"/>
              </a:ext>
            </a:extLst>
          </p:cNvPr>
          <p:cNvSpPr/>
          <p:nvPr/>
        </p:nvSpPr>
        <p:spPr>
          <a:xfrm>
            <a:off x="15333586" y="5539443"/>
            <a:ext cx="2932191" cy="714655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ctr">
            <a:noAutofit/>
          </a:bodyPr>
          <a:lstStyle/>
          <a:p>
            <a:pPr marL="0" marR="0" lvl="0" indent="0" algn="ctr" defTabSz="1650917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Deeper SC</a:t>
            </a: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BA0315F-9E59-41C3-01C0-B01A0F8F09E7}"/>
              </a:ext>
            </a:extLst>
          </p:cNvPr>
          <p:cNvSpPr txBox="1"/>
          <p:nvPr/>
        </p:nvSpPr>
        <p:spPr>
          <a:xfrm>
            <a:off x="4345764" y="9747381"/>
            <a:ext cx="1481854" cy="6976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no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F1013E5-CF6E-7058-1278-39CDCA480724}"/>
              </a:ext>
            </a:extLst>
          </p:cNvPr>
          <p:cNvSpPr txBox="1"/>
          <p:nvPr/>
        </p:nvSpPr>
        <p:spPr>
          <a:xfrm>
            <a:off x="7268763" y="9730306"/>
            <a:ext cx="1481854" cy="6976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low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127663F8-CCBD-3B68-BD5C-B1B41754E071}"/>
              </a:ext>
            </a:extLst>
          </p:cNvPr>
          <p:cNvSpPr txBox="1"/>
          <p:nvPr/>
        </p:nvSpPr>
        <p:spPr>
          <a:xfrm>
            <a:off x="10191763" y="9766312"/>
            <a:ext cx="1849690" cy="6976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mediu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6F2471F-A73A-70D4-4D4E-606AA64C39E4}"/>
              </a:ext>
            </a:extLst>
          </p:cNvPr>
          <p:cNvSpPr txBox="1"/>
          <p:nvPr/>
        </p:nvSpPr>
        <p:spPr>
          <a:xfrm>
            <a:off x="14424513" y="9766311"/>
            <a:ext cx="1849690" cy="6976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high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7C965616-8AA1-8A2A-C72D-DB6DE9C19DE2}"/>
              </a:ext>
            </a:extLst>
          </p:cNvPr>
          <p:cNvSpPr txBox="1"/>
          <p:nvPr/>
        </p:nvSpPr>
        <p:spPr>
          <a:xfrm>
            <a:off x="2017855" y="11245782"/>
            <a:ext cx="9428849" cy="13870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* CCF: Corporate Carbon Footprint covering Scope 1, 2, 3 upstream</a:t>
            </a:r>
          </a:p>
          <a:p>
            <a:pPr marL="0" marR="0" lvl="0" indent="0" algn="l" defTabSz="4876432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** PCF: Product Carbon Footprin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62FAC21-F4E3-F058-1BC3-64283EEA13E8}"/>
              </a:ext>
            </a:extLst>
          </p:cNvPr>
          <p:cNvSpPr txBox="1"/>
          <p:nvPr/>
        </p:nvSpPr>
        <p:spPr>
          <a:xfrm>
            <a:off x="18583698" y="4472691"/>
            <a:ext cx="3799261" cy="6360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Data requirement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F735419-D1E1-CF56-7E48-C4B584972ECC}"/>
              </a:ext>
            </a:extLst>
          </p:cNvPr>
          <p:cNvSpPr txBox="1"/>
          <p:nvPr/>
        </p:nvSpPr>
        <p:spPr>
          <a:xfrm>
            <a:off x="18583699" y="5438525"/>
            <a:ext cx="4684673" cy="8207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Performance of suppliers via </a:t>
            </a:r>
            <a:r>
              <a: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supplier+s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Fono" panose="020B0504030300000000" pitchFamily="3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2EE3290-6209-DC12-0E12-5D67F84A8F64}"/>
              </a:ext>
            </a:extLst>
          </p:cNvPr>
          <p:cNvSpPr txBox="1"/>
          <p:nvPr/>
        </p:nvSpPr>
        <p:spPr>
          <a:xfrm>
            <a:off x="18583699" y="6277176"/>
            <a:ext cx="4684673" cy="8207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Availability of PCF for relevant product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EF83F0A7-5F01-AB3B-9151-A5A25D9ABAC5}"/>
              </a:ext>
            </a:extLst>
          </p:cNvPr>
          <p:cNvSpPr txBox="1"/>
          <p:nvPr/>
        </p:nvSpPr>
        <p:spPr>
          <a:xfrm>
            <a:off x="18583699" y="7115827"/>
            <a:ext cx="4684673" cy="8207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Availability of CCF or input data for CCF calculation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24DC5BF-847D-CB18-4C09-020691BDDE80}"/>
              </a:ext>
            </a:extLst>
          </p:cNvPr>
          <p:cNvSpPr txBox="1"/>
          <p:nvPr/>
        </p:nvSpPr>
        <p:spPr>
          <a:xfrm>
            <a:off x="18583699" y="7924787"/>
            <a:ext cx="4684673" cy="8207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Scope of implemented abatement measures 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4D151D5A-F796-7831-9041-4789917AA14C}"/>
              </a:ext>
            </a:extLst>
          </p:cNvPr>
          <p:cNvSpPr txBox="1"/>
          <p:nvPr/>
        </p:nvSpPr>
        <p:spPr>
          <a:xfrm>
            <a:off x="18583699" y="8839482"/>
            <a:ext cx="4684673" cy="5129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None</a:t>
            </a:r>
          </a:p>
        </p:txBody>
      </p:sp>
    </p:spTree>
    <p:extLst>
      <p:ext uri="{BB962C8B-B14F-4D97-AF65-F5344CB8AC3E}">
        <p14:creationId xmlns:p14="http://schemas.microsoft.com/office/powerpoint/2010/main" val="364207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22" grpId="0" animBg="1"/>
      <p:bldP spid="23" grpId="0" animBg="1"/>
      <p:bldP spid="29" grpId="0"/>
      <p:bldP spid="32" grpId="0"/>
      <p:bldP spid="33" grpId="0"/>
      <p:bldP spid="34" grpId="0"/>
      <p:bldP spid="35" grpId="0"/>
      <p:bldP spid="3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E7F3D-932D-CBD8-9B82-E9C06A5B8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58DCC0-47DE-8CB6-BC9B-301F8A7482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67638" y="1166068"/>
            <a:ext cx="21533728" cy="158063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GB" sz="5000" b="0" spc="0" err="1">
                <a:latin typeface="Aeonik Medium" panose="020B0503030300000000" pitchFamily="34" charset="0"/>
              </a:rPr>
              <a:t>item+s</a:t>
            </a:r>
            <a:r>
              <a:rPr lang="en-GB" sz="5000" b="0" spc="0">
                <a:latin typeface="Aeonik Medium" panose="020B0503030300000000" pitchFamily="34" charset="0"/>
              </a:rPr>
              <a:t> and </a:t>
            </a:r>
            <a:r>
              <a:rPr lang="en-GB" sz="5000" b="0" spc="0" err="1">
                <a:latin typeface="Aeonik Medium" panose="020B0503030300000000" pitchFamily="34" charset="0"/>
              </a:rPr>
              <a:t>supplier+s</a:t>
            </a:r>
            <a:r>
              <a:rPr lang="en-GB" sz="5000" b="0" spc="0">
                <a:latin typeface="Aeonik Medium" panose="020B0503030300000000" pitchFamily="34" charset="0"/>
              </a:rPr>
              <a:t> function stand alone, but offer</a:t>
            </a:r>
            <a:br>
              <a:rPr lang="en-GB" sz="5000" b="0" spc="0">
                <a:latin typeface="Aeonik Medium" panose="020B0503030300000000" pitchFamily="34" charset="0"/>
              </a:rPr>
            </a:br>
            <a:r>
              <a:rPr lang="en-GB" sz="5000" b="0" spc="0">
                <a:latin typeface="Aeonik Medium" panose="020B0503030300000000" pitchFamily="34" charset="0"/>
              </a:rPr>
              <a:t>additional </a:t>
            </a:r>
            <a:r>
              <a:rPr lang="en-GB" sz="5000" b="0" spc="0">
                <a:solidFill>
                  <a:srgbClr val="000000"/>
                </a:solidFill>
                <a:latin typeface="Aeonik Medium" panose="020B0503030300000000" pitchFamily="34" charset="0"/>
              </a:rPr>
              <a:t>insights</a:t>
            </a:r>
            <a:r>
              <a:rPr lang="en-GB" sz="5000" b="0" spc="0">
                <a:latin typeface="Aeonik Medium" panose="020B0503030300000000" pitchFamily="34" charset="0"/>
              </a:rPr>
              <a:t> when combined</a:t>
            </a:r>
            <a:endParaRPr lang="en-GB" sz="5000" b="0" strike="sngStrike" spc="0">
              <a:latin typeface="Aeonik Medium" panose="020B0503030300000000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C9BFBA-EA9E-C7BF-76B2-6AA9BF22DF50}"/>
              </a:ext>
            </a:extLst>
          </p:cNvPr>
          <p:cNvSpPr/>
          <p:nvPr/>
        </p:nvSpPr>
        <p:spPr>
          <a:xfrm>
            <a:off x="11125857" y="5295913"/>
            <a:ext cx="2140001" cy="1007162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991" tIns="71991" rIns="71991" bIns="71991" numCol="1" spcCol="38100" rtlCol="0" anchor="t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>
                <a:ln>
                  <a:noFill/>
                </a:ln>
                <a:solidFill>
                  <a:srgbClr val="3C6DF5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Data warehouse</a:t>
            </a: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srgbClr val="3C6DF5"/>
              </a:solidFill>
              <a:effectLst/>
              <a:uLnTx/>
              <a:uFillTx/>
              <a:latin typeface="Aeonik Fono" panose="020B0504030300000000" pitchFamily="34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9D7A7216-80AB-11AF-0523-67F621F2F912}"/>
              </a:ext>
            </a:extLst>
          </p:cNvPr>
          <p:cNvCxnSpPr>
            <a:cxnSpLocks/>
          </p:cNvCxnSpPr>
          <p:nvPr/>
        </p:nvCxnSpPr>
        <p:spPr>
          <a:xfrm flipH="1">
            <a:off x="-371452" y="4502919"/>
            <a:ext cx="4337246" cy="0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Rechteck 64">
            <a:extLst>
              <a:ext uri="{FF2B5EF4-FFF2-40B4-BE49-F238E27FC236}">
                <a16:creationId xmlns:a16="http://schemas.microsoft.com/office/drawing/2014/main" id="{492F3DA0-04E0-270A-A112-C8E5134865F9}"/>
              </a:ext>
            </a:extLst>
          </p:cNvPr>
          <p:cNvSpPr/>
          <p:nvPr/>
        </p:nvSpPr>
        <p:spPr>
          <a:xfrm>
            <a:off x="16161678" y="5313838"/>
            <a:ext cx="3892225" cy="1506778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5" tIns="50795" rIns="50795" bIns="50795" numCol="1" spcCol="38100" rtlCol="0" anchor="t">
            <a:noAutofit/>
          </a:bodyPr>
          <a:lstStyle/>
          <a:p>
            <a:pPr marL="342867" marR="0" lvl="0" indent="-342867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Suisse Int'l Mono" panose="020B0509000000000000" pitchFamily="49" charset="77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Textfeld 50">
            <a:extLst>
              <a:ext uri="{FF2B5EF4-FFF2-40B4-BE49-F238E27FC236}">
                <a16:creationId xmlns:a16="http://schemas.microsoft.com/office/drawing/2014/main" id="{E5C626D2-8284-9244-6FE0-66C4384DEEB2}"/>
              </a:ext>
            </a:extLst>
          </p:cNvPr>
          <p:cNvSpPr txBox="1"/>
          <p:nvPr/>
        </p:nvSpPr>
        <p:spPr>
          <a:xfrm>
            <a:off x="20414618" y="4876101"/>
            <a:ext cx="2681535" cy="34881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5" tIns="50795" rIns="50795" bIns="50795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Data of invited suppliers:</a:t>
            </a:r>
          </a:p>
          <a:p>
            <a:pPr marL="342867" marR="0" lvl="0" indent="-342867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Respond on level of segment / country of activity</a:t>
            </a:r>
          </a:p>
          <a:p>
            <a:pPr marL="342867" marR="0" lvl="0" indent="-342867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Qualitative survey on implemented redaction measures</a:t>
            </a:r>
          </a:p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Aeonik" panose="020B0503030300000000" pitchFamily="34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2" name="Gerade Verbindung mit Pfeil 52">
            <a:extLst>
              <a:ext uri="{FF2B5EF4-FFF2-40B4-BE49-F238E27FC236}">
                <a16:creationId xmlns:a16="http://schemas.microsoft.com/office/drawing/2014/main" id="{A90F7D30-09A0-4AF3-2D60-C5A2F6D45D7A}"/>
              </a:ext>
            </a:extLst>
          </p:cNvPr>
          <p:cNvCxnSpPr>
            <a:cxnSpLocks/>
          </p:cNvCxnSpPr>
          <p:nvPr/>
        </p:nvCxnSpPr>
        <p:spPr>
          <a:xfrm>
            <a:off x="20485265" y="4507231"/>
            <a:ext cx="4344795" cy="0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Rechteck 60">
            <a:extLst>
              <a:ext uri="{FF2B5EF4-FFF2-40B4-BE49-F238E27FC236}">
                <a16:creationId xmlns:a16="http://schemas.microsoft.com/office/drawing/2014/main" id="{9ABB593B-A604-E437-1F98-239CB15D8F68}"/>
              </a:ext>
            </a:extLst>
          </p:cNvPr>
          <p:cNvSpPr/>
          <p:nvPr/>
        </p:nvSpPr>
        <p:spPr>
          <a:xfrm>
            <a:off x="13531838" y="5143737"/>
            <a:ext cx="4338602" cy="2068992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991" tIns="71991" rIns="71991" bIns="71991" numCol="1" spcCol="38100" rtlCol="0" anchor="t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nterim results</a:t>
            </a:r>
          </a:p>
          <a:p>
            <a:pPr marL="342867" marR="0" lvl="0" indent="-225405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Current performance of suppliers</a:t>
            </a:r>
          </a:p>
          <a:p>
            <a:pPr marL="342867" marR="0" lvl="0" indent="-225405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Outlook on future performance</a:t>
            </a:r>
          </a:p>
          <a:p>
            <a:pPr marL="342867" marR="0" lvl="0" indent="-225405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nsights into measures taken by suppliers</a:t>
            </a:r>
          </a:p>
        </p:txBody>
      </p:sp>
      <p:sp>
        <p:nvSpPr>
          <p:cNvPr id="23" name="Rechteck 60">
            <a:extLst>
              <a:ext uri="{FF2B5EF4-FFF2-40B4-BE49-F238E27FC236}">
                <a16:creationId xmlns:a16="http://schemas.microsoft.com/office/drawing/2014/main" id="{A09D8717-E9E3-1FE5-395B-6F0EE5DD68BE}"/>
              </a:ext>
            </a:extLst>
          </p:cNvPr>
          <p:cNvSpPr/>
          <p:nvPr/>
        </p:nvSpPr>
        <p:spPr>
          <a:xfrm>
            <a:off x="6792926" y="5143638"/>
            <a:ext cx="4206706" cy="168427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991" tIns="71991" rIns="71991" bIns="71991" numCol="1" spcCol="38100" rtlCol="0" anchor="b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nterim results </a:t>
            </a:r>
          </a:p>
          <a:p>
            <a:pPr marL="346043" marR="0" lvl="0" indent="-228579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Overall emissions, per BU etc.</a:t>
            </a:r>
          </a:p>
          <a:p>
            <a:pPr marL="346043" marR="0" lvl="0" indent="-228579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Screening of corporate hotspots</a:t>
            </a:r>
          </a:p>
          <a:p>
            <a:pPr marL="346043" marR="0" lvl="0" indent="-228579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dentification of key supplie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E1A2BCD-C52D-8439-FEEB-58A933BF331B}"/>
              </a:ext>
            </a:extLst>
          </p:cNvPr>
          <p:cNvSpPr txBox="1"/>
          <p:nvPr/>
        </p:nvSpPr>
        <p:spPr>
          <a:xfrm>
            <a:off x="1294014" y="4874837"/>
            <a:ext cx="2772951" cy="17953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5" tIns="50795" rIns="50795" bIns="50795" numCol="1" spcCol="3810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Data from corporate systems:</a:t>
            </a:r>
          </a:p>
          <a:p>
            <a:pPr marL="342867" marR="0" lvl="0" indent="-342867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rocurement system data</a:t>
            </a:r>
          </a:p>
          <a:p>
            <a:pPr marL="342867" marR="0" lvl="0" indent="-342867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rice development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5C1827B-E8FC-6FEB-F3A5-4F2284694E49}"/>
              </a:ext>
            </a:extLst>
          </p:cNvPr>
          <p:cNvSpPr txBox="1"/>
          <p:nvPr/>
        </p:nvSpPr>
        <p:spPr>
          <a:xfrm>
            <a:off x="17986292" y="3681360"/>
            <a:ext cx="1982661" cy="19492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5" tIns="50795" rIns="50795" bIns="50795" numCol="1" spcCol="3810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translation into quantitative KPI: reduction performance as compared to average supplie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085565E-8712-69AE-4578-320431F55151}"/>
              </a:ext>
            </a:extLst>
          </p:cNvPr>
          <p:cNvSpPr txBox="1"/>
          <p:nvPr/>
        </p:nvSpPr>
        <p:spPr>
          <a:xfrm>
            <a:off x="4325736" y="4144109"/>
            <a:ext cx="2140001" cy="7181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5" tIns="50795" rIns="50795" bIns="50795" numCol="1" spcCol="3810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Well-defined mapping</a:t>
            </a:r>
          </a:p>
        </p:txBody>
      </p:sp>
      <p:pic>
        <p:nvPicPr>
          <p:cNvPr id="3" name="noun-cubic-5108844-3C6DF5.png" descr="noun-cubic-5108844-3C6DF5.png">
            <a:extLst>
              <a:ext uri="{FF2B5EF4-FFF2-40B4-BE49-F238E27FC236}">
                <a16:creationId xmlns:a16="http://schemas.microsoft.com/office/drawing/2014/main" id="{3B6A304A-FBF6-B511-333A-867E1F771DA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1200" y="3868889"/>
            <a:ext cx="1354144" cy="1354144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Bild" descr="Bild">
            <a:extLst>
              <a:ext uri="{FF2B5EF4-FFF2-40B4-BE49-F238E27FC236}">
                <a16:creationId xmlns:a16="http://schemas.microsoft.com/office/drawing/2014/main" id="{038D97BA-3BAC-36FB-A61C-1EA505B9265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81650" y="4136320"/>
            <a:ext cx="4041023" cy="759349"/>
          </a:xfrm>
          <a:prstGeom prst="rect">
            <a:avLst/>
          </a:prstGeom>
          <a:ln w="12700">
            <a:miter lim="400000"/>
          </a:ln>
        </p:spPr>
      </p:pic>
      <p:sp>
        <p:nvSpPr>
          <p:cNvPr id="256" name="Rechteck 255">
            <a:extLst>
              <a:ext uri="{FF2B5EF4-FFF2-40B4-BE49-F238E27FC236}">
                <a16:creationId xmlns:a16="http://schemas.microsoft.com/office/drawing/2014/main" id="{F8E9B978-3B9B-09F5-638A-B33437328512}"/>
              </a:ext>
            </a:extLst>
          </p:cNvPr>
          <p:cNvSpPr/>
          <p:nvPr/>
        </p:nvSpPr>
        <p:spPr>
          <a:xfrm>
            <a:off x="7931609" y="7638605"/>
            <a:ext cx="8511590" cy="607053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991" tIns="71991" rIns="71991" bIns="71991" numCol="1" spcCol="38100" rtlCol="0" anchor="t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Results after merging both products</a:t>
            </a:r>
          </a:p>
        </p:txBody>
      </p:sp>
      <p:cxnSp>
        <p:nvCxnSpPr>
          <p:cNvPr id="260" name="Gerade Verbindung mit Pfeil 259">
            <a:extLst>
              <a:ext uri="{FF2B5EF4-FFF2-40B4-BE49-F238E27FC236}">
                <a16:creationId xmlns:a16="http://schemas.microsoft.com/office/drawing/2014/main" id="{EA93BDC5-266F-6631-9842-5918B1078D12}"/>
              </a:ext>
            </a:extLst>
          </p:cNvPr>
          <p:cNvCxnSpPr>
            <a:cxnSpLocks/>
          </p:cNvCxnSpPr>
          <p:nvPr/>
        </p:nvCxnSpPr>
        <p:spPr>
          <a:xfrm flipH="1">
            <a:off x="10950208" y="4502919"/>
            <a:ext cx="549810" cy="0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2" name="Gerade Verbindung mit Pfeil 261">
            <a:extLst>
              <a:ext uri="{FF2B5EF4-FFF2-40B4-BE49-F238E27FC236}">
                <a16:creationId xmlns:a16="http://schemas.microsoft.com/office/drawing/2014/main" id="{DDD447F9-29B2-826C-BF3B-A7C4739D0DD7}"/>
              </a:ext>
            </a:extLst>
          </p:cNvPr>
          <p:cNvCxnSpPr>
            <a:cxnSpLocks/>
          </p:cNvCxnSpPr>
          <p:nvPr/>
        </p:nvCxnSpPr>
        <p:spPr>
          <a:xfrm flipH="1">
            <a:off x="12877734" y="4502919"/>
            <a:ext cx="549810" cy="0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none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4" name="Textfeld 263">
            <a:extLst>
              <a:ext uri="{FF2B5EF4-FFF2-40B4-BE49-F238E27FC236}">
                <a16:creationId xmlns:a16="http://schemas.microsoft.com/office/drawing/2014/main" id="{7CC1E7A9-A9DD-E9E3-9D5E-8E097DB4726F}"/>
              </a:ext>
            </a:extLst>
          </p:cNvPr>
          <p:cNvSpPr txBox="1"/>
          <p:nvPr/>
        </p:nvSpPr>
        <p:spPr>
          <a:xfrm>
            <a:off x="5728970" y="8075854"/>
            <a:ext cx="13497489" cy="18620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numCol="2">
            <a:spAutoFit/>
          </a:bodyPr>
          <a:lstStyle/>
          <a:p>
            <a:pPr marL="342867" marR="0" lvl="0" indent="-225405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recise current footprint based on both primary and secondary data</a:t>
            </a:r>
          </a:p>
          <a:p>
            <a:pPr marL="342867" marR="0" lvl="0" indent="-225405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Emission trend over time (past years)</a:t>
            </a:r>
            <a:b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</a:b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Aeonik" panose="020B0503030300000000" pitchFamily="34" charset="0"/>
              <a:ea typeface="Helvetica Neue"/>
              <a:cs typeface="Helvetica Neue"/>
              <a:sym typeface="Helvetica Neue"/>
            </a:endParaRPr>
          </a:p>
          <a:p>
            <a:pPr marL="117462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Aeonik" panose="020B0503030300000000" pitchFamily="34" charset="0"/>
              <a:ea typeface="Helvetica Neue"/>
              <a:cs typeface="Helvetica Neue"/>
              <a:sym typeface="Helvetica Neue"/>
            </a:endParaRPr>
          </a:p>
          <a:p>
            <a:pPr marL="342867" marR="0" lvl="0" indent="-225405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Expected trajectory</a:t>
            </a:r>
          </a:p>
          <a:p>
            <a:pPr marL="342867" marR="0" lvl="0" indent="-225405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nsight into future reduction levers</a:t>
            </a:r>
          </a:p>
        </p:txBody>
      </p:sp>
      <p:cxnSp>
        <p:nvCxnSpPr>
          <p:cNvPr id="266" name="Gerade Verbindung mit Pfeil 265">
            <a:extLst>
              <a:ext uri="{FF2B5EF4-FFF2-40B4-BE49-F238E27FC236}">
                <a16:creationId xmlns:a16="http://schemas.microsoft.com/office/drawing/2014/main" id="{626512C3-6BA2-8C07-77C6-8C258CDA9C35}"/>
              </a:ext>
            </a:extLst>
          </p:cNvPr>
          <p:cNvCxnSpPr>
            <a:cxnSpLocks/>
          </p:cNvCxnSpPr>
          <p:nvPr/>
        </p:nvCxnSpPr>
        <p:spPr>
          <a:xfrm flipV="1">
            <a:off x="12268081" y="6303919"/>
            <a:ext cx="0" cy="1227118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none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D89F56-C418-4CAC-5DC1-9D2D6B4320F8}"/>
              </a:ext>
            </a:extLst>
          </p:cNvPr>
          <p:cNvCxnSpPr>
            <a:cxnSpLocks/>
          </p:cNvCxnSpPr>
          <p:nvPr/>
        </p:nvCxnSpPr>
        <p:spPr>
          <a:xfrm flipV="1">
            <a:off x="4415510" y="8499302"/>
            <a:ext cx="0" cy="994877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2" name="Gerade Verbindung mit Pfeil 271">
            <a:extLst>
              <a:ext uri="{FF2B5EF4-FFF2-40B4-BE49-F238E27FC236}">
                <a16:creationId xmlns:a16="http://schemas.microsoft.com/office/drawing/2014/main" id="{1AAFAC8B-7B6B-8D57-0FAD-2DC9485A8CF9}"/>
              </a:ext>
            </a:extLst>
          </p:cNvPr>
          <p:cNvCxnSpPr>
            <a:cxnSpLocks/>
          </p:cNvCxnSpPr>
          <p:nvPr/>
        </p:nvCxnSpPr>
        <p:spPr>
          <a:xfrm flipV="1">
            <a:off x="12268081" y="8874927"/>
            <a:ext cx="0" cy="619252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6D8C8C98-F536-4932-2C4E-F71750E4E2DC}"/>
              </a:ext>
            </a:extLst>
          </p:cNvPr>
          <p:cNvCxnSpPr>
            <a:cxnSpLocks/>
          </p:cNvCxnSpPr>
          <p:nvPr/>
        </p:nvCxnSpPr>
        <p:spPr>
          <a:xfrm flipV="1">
            <a:off x="20013083" y="8499302"/>
            <a:ext cx="0" cy="994877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4" name="Textfeld 273">
            <a:extLst>
              <a:ext uri="{FF2B5EF4-FFF2-40B4-BE49-F238E27FC236}">
                <a16:creationId xmlns:a16="http://schemas.microsoft.com/office/drawing/2014/main" id="{79DA6F60-4B8A-14B5-0D74-1A252734E9DC}"/>
              </a:ext>
            </a:extLst>
          </p:cNvPr>
          <p:cNvSpPr txBox="1"/>
          <p:nvPr/>
        </p:nvSpPr>
        <p:spPr>
          <a:xfrm>
            <a:off x="2011284" y="12334780"/>
            <a:ext cx="4628905" cy="6976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593" tIns="101593" rIns="101593" bIns="101593" numCol="1" spcCol="38100" rtlCol="0" anchor="ctr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Emissions level and trend</a:t>
            </a:r>
          </a:p>
        </p:txBody>
      </p:sp>
      <p:sp>
        <p:nvSpPr>
          <p:cNvPr id="275" name="Textfeld 274">
            <a:extLst>
              <a:ext uri="{FF2B5EF4-FFF2-40B4-BE49-F238E27FC236}">
                <a16:creationId xmlns:a16="http://schemas.microsoft.com/office/drawing/2014/main" id="{6EA709A3-653E-A63F-F08A-5893151B247F}"/>
              </a:ext>
            </a:extLst>
          </p:cNvPr>
          <p:cNvSpPr txBox="1"/>
          <p:nvPr/>
        </p:nvSpPr>
        <p:spPr>
          <a:xfrm>
            <a:off x="18582087" y="12344248"/>
            <a:ext cx="2824477" cy="6976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01593" tIns="101593" rIns="101593" bIns="101593" numCol="1" spcCol="38100" rtlCol="0" anchor="ctr">
            <a:spAutoFit/>
          </a:bodyPr>
          <a:lstStyle/>
          <a:p>
            <a:pPr marL="0" marR="0" lvl="0" indent="0" algn="l" defTabSz="4876432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Supplier performance</a:t>
            </a:r>
          </a:p>
        </p:txBody>
      </p:sp>
      <p:sp>
        <p:nvSpPr>
          <p:cNvPr id="276" name="Textfeld 275">
            <a:extLst>
              <a:ext uri="{FF2B5EF4-FFF2-40B4-BE49-F238E27FC236}">
                <a16:creationId xmlns:a16="http://schemas.microsoft.com/office/drawing/2014/main" id="{BB724009-19C4-58A5-AC62-00EB7DF26AB4}"/>
              </a:ext>
            </a:extLst>
          </p:cNvPr>
          <p:cNvSpPr txBox="1"/>
          <p:nvPr/>
        </p:nvSpPr>
        <p:spPr>
          <a:xfrm>
            <a:off x="10893943" y="12334778"/>
            <a:ext cx="2553569" cy="6976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01593" tIns="101593" rIns="101593" bIns="101593" numCol="1" spcCol="38100" rtlCol="0" anchor="ctr">
            <a:spAutoFit/>
          </a:bodyPr>
          <a:lstStyle/>
          <a:p>
            <a:pPr marL="0" marR="0" lvl="0" indent="0" algn="ctr" defTabSz="4876432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Emissions hotspots</a:t>
            </a:r>
          </a:p>
        </p:txBody>
      </p: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8208338D-D2E4-183D-BF12-AD79AA44E4F9}"/>
              </a:ext>
            </a:extLst>
          </p:cNvPr>
          <p:cNvCxnSpPr>
            <a:cxnSpLocks/>
          </p:cNvCxnSpPr>
          <p:nvPr/>
        </p:nvCxnSpPr>
        <p:spPr>
          <a:xfrm>
            <a:off x="4374264" y="8499301"/>
            <a:ext cx="1344054" cy="0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none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0" name="Gerade Verbindung mit Pfeil 279">
            <a:extLst>
              <a:ext uri="{FF2B5EF4-FFF2-40B4-BE49-F238E27FC236}">
                <a16:creationId xmlns:a16="http://schemas.microsoft.com/office/drawing/2014/main" id="{BAAFB61F-9AE2-B041-13FF-C55CC6955B0F}"/>
              </a:ext>
            </a:extLst>
          </p:cNvPr>
          <p:cNvCxnSpPr>
            <a:cxnSpLocks/>
          </p:cNvCxnSpPr>
          <p:nvPr/>
        </p:nvCxnSpPr>
        <p:spPr>
          <a:xfrm>
            <a:off x="18713239" y="8499301"/>
            <a:ext cx="1344054" cy="0"/>
          </a:xfrm>
          <a:prstGeom prst="straightConnector1">
            <a:avLst/>
          </a:prstGeom>
          <a:noFill/>
          <a:ln w="38100" cap="flat">
            <a:solidFill>
              <a:schemeClr val="tx2"/>
            </a:solidFill>
            <a:prstDash val="solid"/>
            <a:round/>
            <a:headEnd type="none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5" name="Grafik 4" descr="Ein Bild, das Screenshot, Text, Diagramm, Design enthält.&#10;&#10;Automatisch generierte Beschreibung">
            <a:extLst>
              <a:ext uri="{FF2B5EF4-FFF2-40B4-BE49-F238E27FC236}">
                <a16:creationId xmlns:a16="http://schemas.microsoft.com/office/drawing/2014/main" id="{F050BB34-0E4B-D847-56C1-519D50917C3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0075" y="9536592"/>
            <a:ext cx="4672426" cy="2755791"/>
          </a:xfrm>
          <a:prstGeom prst="rect">
            <a:avLst/>
          </a:prstGeom>
        </p:spPr>
      </p:pic>
      <p:pic>
        <p:nvPicPr>
          <p:cNvPr id="8" name="Grafik 7" descr="Ein Bild, das Text, Screenshot, Quittung enthält.&#10;&#10;Automatisch generierte Beschreibung">
            <a:extLst>
              <a:ext uri="{FF2B5EF4-FFF2-40B4-BE49-F238E27FC236}">
                <a16:creationId xmlns:a16="http://schemas.microsoft.com/office/drawing/2014/main" id="{03FD04B2-E710-605C-F2D9-4E232DF8A17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19714" y="9546575"/>
            <a:ext cx="4668376" cy="2735822"/>
          </a:xfrm>
          <a:prstGeom prst="rect">
            <a:avLst/>
          </a:prstGeom>
        </p:spPr>
      </p:pic>
      <p:pic>
        <p:nvPicPr>
          <p:cNvPr id="15" name="Grafik 14" descr="Ein Bild, das Text, Reihe, Screenshot enthält.&#10;&#10;Automatisch generierte Beschreibung">
            <a:extLst>
              <a:ext uri="{FF2B5EF4-FFF2-40B4-BE49-F238E27FC236}">
                <a16:creationId xmlns:a16="http://schemas.microsoft.com/office/drawing/2014/main" id="{2E2F8B27-D372-6BCC-9BF6-1B89BC56F26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7287" y="9847511"/>
            <a:ext cx="4607700" cy="2681747"/>
          </a:xfrm>
          <a:prstGeom prst="rect">
            <a:avLst/>
          </a:prstGeom>
        </p:spPr>
      </p:pic>
      <p:pic>
        <p:nvPicPr>
          <p:cNvPr id="4" name="Picture 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5C3E930-2CD4-8A61-E5CE-B860285DE71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7045" y="4145861"/>
            <a:ext cx="3186684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12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65" grpId="0"/>
      <p:bldP spid="11" grpId="0"/>
      <p:bldP spid="22" grpId="0"/>
      <p:bldP spid="23" grpId="0"/>
      <p:bldP spid="13" grpId="0"/>
      <p:bldP spid="14" grpId="0"/>
      <p:bldP spid="18" grpId="0"/>
      <p:bldP spid="256" grpId="0"/>
      <p:bldP spid="264" grpId="0"/>
      <p:bldP spid="274" grpId="0"/>
      <p:bldP spid="275" grpId="0"/>
      <p:bldP spid="27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FD9F0-D0E9-F8DF-B2DB-18D0E4C17D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 descr="Slide headline">
            <a:extLst>
              <a:ext uri="{FF2B5EF4-FFF2-40B4-BE49-F238E27FC236}">
                <a16:creationId xmlns:a16="http://schemas.microsoft.com/office/drawing/2014/main" id="{DA20E4D6-4648-B95D-2C13-052670E51D0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0744" y="957984"/>
            <a:ext cx="22741005" cy="1151925"/>
          </a:xfrm>
        </p:spPr>
        <p:txBody>
          <a:bodyPr/>
          <a:lstStyle/>
          <a:p>
            <a:pPr lvl="0"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Helvetica Neue"/>
              </a:rPr>
              <a:t>SCM Sustainability Platform </a:t>
            </a:r>
            <a:r>
              <a:rPr kumimoji="0" lang="en-US" sz="40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Helvetica Neue"/>
              </a:rPr>
              <a:t>to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Helvetica Neue"/>
              </a:rPr>
              <a:t> support 4.000+ buyers driving</a:t>
            </a:r>
            <a:r>
              <a:rPr kumimoji="0" lang="en-US" sz="40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Helvetica Neue"/>
              </a:rPr>
              <a:t> sustainability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Helvetica Neue"/>
              </a:rPr>
              <a:t>.</a:t>
            </a:r>
            <a:br>
              <a:rPr lang="en-US">
                <a:solidFill>
                  <a:prstClr val="white"/>
                </a:solidFill>
                <a:latin typeface="+mn-lt"/>
                <a:ea typeface="+mn-ea"/>
                <a:cs typeface="+mn-cs"/>
                <a:sym typeface="Helvetica Neue"/>
              </a:rPr>
            </a:br>
            <a:r>
              <a:rPr lang="en-US">
                <a:solidFill>
                  <a:prstClr val="white"/>
                </a:solidFill>
                <a:latin typeface="+mn-lt"/>
                <a:sym typeface="Helvetica Neue"/>
              </a:rPr>
              <a:t>API to </a:t>
            </a:r>
            <a:r>
              <a:rPr lang="en-US" err="1">
                <a:solidFill>
                  <a:prstClr val="white"/>
                </a:solidFill>
                <a:latin typeface="+mn-lt"/>
                <a:sym typeface="Helvetica Neue"/>
              </a:rPr>
              <a:t>supplier+s</a:t>
            </a:r>
            <a:r>
              <a:rPr lang="en-US">
                <a:solidFill>
                  <a:prstClr val="white"/>
                </a:solidFill>
                <a:latin typeface="+mn-lt"/>
                <a:sym typeface="Helvetica Neue"/>
              </a:rPr>
              <a:t> ensures integration and resource efficient operation</a:t>
            </a:r>
            <a:br>
              <a:rPr lang="en-US" noProof="0">
                <a:latin typeface="+mn-lt"/>
              </a:rPr>
            </a:br>
            <a:br>
              <a:rPr lang="en-US" noProof="0">
                <a:latin typeface="+mn-lt"/>
              </a:rPr>
            </a:br>
            <a:br>
              <a:rPr lang="en-US" b="0" noProof="0">
                <a:latin typeface="+mn-lt"/>
              </a:rPr>
            </a:br>
            <a:endParaRPr lang="en-US" b="0" noProof="0">
              <a:latin typeface="+mn-lt"/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BF74F234-A21D-5E9A-1AE7-4CB983C7B5D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/>
                <a:ea typeface="+mn-ea"/>
                <a:cs typeface="+mn-cs"/>
                <a:sym typeface="Helvetica Neue"/>
              </a:rPr>
              <a:t>Unrestricted | © Siemens 2025 | Supply Chain Management 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6F4E679-6DCC-190D-959E-2C847C752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/>
                <a:ea typeface="+mn-ea"/>
                <a:cs typeface="+mn-cs"/>
                <a:sym typeface="Helvetica Neue"/>
              </a:rPr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emens Sans"/>
              <a:ea typeface="+mn-ea"/>
              <a:cs typeface="+mn-cs"/>
              <a:sym typeface="Helvetica Neue"/>
            </a:endParaRPr>
          </a:p>
        </p:txBody>
      </p:sp>
      <p:pic>
        <p:nvPicPr>
          <p:cNvPr id="6" name="Picture 5" descr="A screen shot of a sign&#10;&#10;Description automatically generated">
            <a:extLst>
              <a:ext uri="{FF2B5EF4-FFF2-40B4-BE49-F238E27FC236}">
                <a16:creationId xmlns:a16="http://schemas.microsoft.com/office/drawing/2014/main" id="{E56ADF5B-30F1-4D5C-1FAE-A7F425E0818B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749" y="3558781"/>
            <a:ext cx="13087778" cy="72222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54DBA33-D78C-4A62-1D4C-54FA935314E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318820" y="3823982"/>
            <a:ext cx="10939912" cy="707886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18277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F3F3F0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  <a:sym typeface="Helvetica Neue"/>
              </a:rPr>
              <a:t>All sustainability information in one pla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932D4E-573E-86D0-7E68-7E2F2863F17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318820" y="5545144"/>
            <a:ext cx="10939912" cy="707886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18277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3F3F0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  <a:sym typeface="Helvetica Neue"/>
              </a:rPr>
              <a:t>Comparison of sustainability performanc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E22F8C-9DDD-74B5-52A9-18CCCF0F4CB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318824" y="7184104"/>
            <a:ext cx="10981547" cy="707886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18277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3F3F0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  <a:sym typeface="Helvetica Neue"/>
              </a:rPr>
              <a:t>Trigger End to End sustainability process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1E3174-384A-59F7-EDD8-FB1458879E8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3318820" y="8823064"/>
            <a:ext cx="10939912" cy="707886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18277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3F3F0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  <a:sym typeface="Helvetica Neue"/>
              </a:rPr>
              <a:t>Drive supplier sustainability strategie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901E376-60FD-2EA1-CB30-BA0C80F75B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55312" y="7711668"/>
            <a:ext cx="1998921" cy="1743323"/>
          </a:xfrm>
          <a:prstGeom prst="rect">
            <a:avLst/>
          </a:prstGeom>
          <a:noFill/>
          <a:ln w="28575">
            <a:solidFill>
              <a:srgbClr val="F7C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/>
          </a:p>
        </p:txBody>
      </p:sp>
      <p:sp>
        <p:nvSpPr>
          <p:cNvPr id="7" name="TextBox 12">
            <a:extLst>
              <a:ext uri="{FF2B5EF4-FFF2-40B4-BE49-F238E27FC236}">
                <a16:creationId xmlns:a16="http://schemas.microsoft.com/office/drawing/2014/main" id="{8217A188-06A2-D832-6C93-525BB69EC86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318820" y="10462024"/>
            <a:ext cx="10939912" cy="707886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18277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3F3F0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  <a:sym typeface="Helvetica Neue"/>
              </a:rPr>
              <a:t>Ensure resource-efficiency</a:t>
            </a:r>
          </a:p>
        </p:txBody>
      </p:sp>
    </p:spTree>
    <p:extLst>
      <p:ext uri="{BB962C8B-B14F-4D97-AF65-F5344CB8AC3E}">
        <p14:creationId xmlns:p14="http://schemas.microsoft.com/office/powerpoint/2010/main" val="150530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465"/>
    </mc:Choice>
    <mc:Fallback xmlns="">
      <p:transition spd="slow" advTm="65465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AB69DA-9B96-450D-D89D-2200BFAFAC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7E3D2506-2281-2181-969E-6226A502C1F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746" y="3383186"/>
            <a:ext cx="8131868" cy="5043423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4640D619-F680-4123-C3B4-E16CD96A2B3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20746" y="957984"/>
            <a:ext cx="22752095" cy="11519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sym typeface="Helvetica Neue"/>
              </a:rPr>
              <a:t>Carbon web assessment via </a:t>
            </a:r>
            <a:r>
              <a:rPr kumimoji="0" lang="en-US" sz="4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sym typeface="Helvetica Neue"/>
              </a:rPr>
              <a:t>supplier+s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sym typeface="Helvetica Neue"/>
              </a:rPr>
              <a:t> is an integral part of our sustainable procurement approach and important aspect </a:t>
            </a:r>
            <a:r>
              <a:rPr lang="en-US" sz="4000">
                <a:solidFill>
                  <a:prstClr val="white"/>
                </a:solidFill>
                <a:latin typeface="Siemens Sans" pitchFamily="2" charset="0"/>
              </a:rPr>
              <a:t>of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sym typeface="Helvetica Neue"/>
              </a:rPr>
              <a:t> decision-making processes</a:t>
            </a:r>
            <a:endParaRPr kumimoji="0" lang="de-DE" sz="4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emens Sans" pitchFamily="2" charset="0"/>
              <a:sym typeface="Helvetica Neue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39D2A9E-B875-73E9-A389-3DC72C8657D8}"/>
              </a:ext>
            </a:extLst>
          </p:cNvPr>
          <p:cNvGrpSpPr/>
          <p:nvPr/>
        </p:nvGrpSpPr>
        <p:grpSpPr>
          <a:xfrm>
            <a:off x="6162785" y="4735691"/>
            <a:ext cx="11848769" cy="7385422"/>
            <a:chOff x="6162785" y="4735691"/>
            <a:chExt cx="11848769" cy="7385422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1960D785-8729-F381-BC1A-812B2C938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r="29734"/>
            <a:stretch/>
          </p:blipFill>
          <p:spPr>
            <a:xfrm>
              <a:off x="6162785" y="5709751"/>
              <a:ext cx="9267016" cy="6411362"/>
            </a:xfrm>
            <a:prstGeom prst="rect">
              <a:avLst/>
            </a:prstGeom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448F7B2A-648B-848D-CAC5-399C84882595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9241734" y="4735691"/>
              <a:ext cx="8769820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emens Sans" pitchFamily="2" charset="0"/>
                  <a:sym typeface="Helvetica Neue"/>
                </a:rPr>
                <a:t>Our buyers can invite suppliers to the carbon web assessment “</a:t>
              </a:r>
              <a:r>
                <a:rPr kumimoji="0" lang="en-US" sz="24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emens Sans" pitchFamily="2" charset="0"/>
                  <a:sym typeface="Helvetica Neue"/>
                </a:rPr>
                <a:t>supplier+s</a:t>
              </a: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emens Sans" pitchFamily="2" charset="0"/>
                  <a:sym typeface="Helvetica Neue"/>
                </a:rPr>
                <a:t>” with a simple click…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D711829F-0A45-F72A-21CD-4DE57CB5F6C5}"/>
              </a:ext>
            </a:extLst>
          </p:cNvPr>
          <p:cNvGrpSpPr/>
          <p:nvPr/>
        </p:nvGrpSpPr>
        <p:grpSpPr>
          <a:xfrm>
            <a:off x="14071386" y="6119336"/>
            <a:ext cx="9419843" cy="6447295"/>
            <a:chOff x="14071386" y="6119336"/>
            <a:chExt cx="9419843" cy="6447295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36921F6D-F3B6-7343-3B8F-C923941121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071386" y="6960490"/>
              <a:ext cx="9419843" cy="5606141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575B61AF-18B4-721E-651A-5A376A54BA9B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>
            <a:xfrm>
              <a:off x="16078830" y="6119336"/>
              <a:ext cx="7348604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 marL="0" marR="0" indent="0" algn="l" defTabSz="1828709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6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lvl="0" algn="l" defTabSz="1828709" eaLnBrk="1" hangingPunct="1">
                <a:defRPr sz="2400" kern="1200">
                  <a:solidFill>
                    <a:prstClr val="white"/>
                  </a:solidFill>
                  <a:uLnTx/>
                  <a:latin typeface="Arial"/>
                </a:defRPr>
              </a:lvl1pPr>
            </a:lstStyle>
            <a:p>
              <a:r>
                <a:rPr lang="en-US">
                  <a:latin typeface="Siemens Sans" pitchFamily="2" charset="0"/>
                </a:rPr>
                <a:t>… and see the status of response, CO2e reduction efforts per action taken/promised and in t CO2e</a:t>
              </a:r>
            </a:p>
          </p:txBody>
        </p:sp>
      </p:grp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C5883C6D-317D-71BD-4006-53D30C0FD34A}"/>
              </a:ext>
            </a:extLst>
          </p:cNvPr>
          <p:cNvSpPr txBox="1">
            <a:spLocks/>
          </p:cNvSpPr>
          <p:nvPr/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 marL="0" marR="0" indent="0" algn="l" defTabSz="182870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91435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1828709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2743063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3657417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4571771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5486126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640048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731483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  <p:sp>
        <p:nvSpPr>
          <p:cNvPr id="13" name="Slide Number Placeholder 6" descr="Page number">
            <a:extLst>
              <a:ext uri="{FF2B5EF4-FFF2-40B4-BE49-F238E27FC236}">
                <a16:creationId xmlns:a16="http://schemas.microsoft.com/office/drawing/2014/main" id="{59708C1C-BE1B-D2F9-398F-13E6CD5A6396}"/>
              </a:ext>
            </a:extLst>
          </p:cNvPr>
          <p:cNvSpPr txBox="1">
            <a:spLocks/>
          </p:cNvSpPr>
          <p:nvPr/>
        </p:nvSpPr>
        <p:spPr bwMode="black">
          <a:xfrm>
            <a:off x="822270" y="12590598"/>
            <a:ext cx="1295916" cy="1093759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 marL="0" marR="0" indent="0" algn="l" defTabSz="182870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91435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1828709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2743063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3657417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4571771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5486126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640048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731483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48764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l" defTabSz="48764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867593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 professional procurement team engaged in a discussion with suppliers. They are reviewing emissions data on a tablet or laptop in a modern office setting. The atmosphere is collaborative and forward-thinking, emphasizing supplier engagement and partnership.">
            <a:extLst>
              <a:ext uri="{FF2B5EF4-FFF2-40B4-BE49-F238E27FC236}">
                <a16:creationId xmlns:a16="http://schemas.microsoft.com/office/drawing/2014/main" id="{FCC2A191-6915-4193-7DC1-82FC13B20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87083"/>
            <a:ext cx="11128917" cy="1112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 business executive looking at a confusing and chaotic data spreadsheet on a large screen. The data is full of errors, missing values, and red warning signs, creating a sense of frustration and uncertainty. The executive appears concerned, emphasizing the challenge of unreliable emissions data.">
            <a:extLst>
              <a:ext uri="{FF2B5EF4-FFF2-40B4-BE49-F238E27FC236}">
                <a16:creationId xmlns:a16="http://schemas.microsoft.com/office/drawing/2014/main" id="{5EFA6365-91E8-382F-7D54-23626AD8CC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47124" y="-1"/>
            <a:ext cx="11435291" cy="11435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8EC8B83-F60E-5FE0-2718-3137D3B435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323" y="663923"/>
            <a:ext cx="11133984" cy="1433164"/>
          </a:xfrm>
        </p:spPr>
        <p:txBody>
          <a:bodyPr/>
          <a:lstStyle/>
          <a:p>
            <a:r>
              <a:rPr lang="en-US"/>
              <a:t>Procurement controls supplier relationships…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7C37AD9D-042A-6D46-7829-108D872C85C7}"/>
              </a:ext>
            </a:extLst>
          </p:cNvPr>
          <p:cNvSpPr txBox="1">
            <a:spLocks/>
          </p:cNvSpPr>
          <p:nvPr/>
        </p:nvSpPr>
        <p:spPr>
          <a:xfrm>
            <a:off x="12947124" y="11464110"/>
            <a:ext cx="13644102" cy="14331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noAutofit/>
          </a:bodyPr>
          <a:lstStyle>
            <a:lvl1pPr marL="0" marR="0" indent="0" algn="l" defTabSz="24379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5000" b="0" i="0" u="none" strike="noStrike" cap="none" spc="0" baseline="0">
                <a:solidFill>
                  <a:schemeClr val="tx1"/>
                </a:solidFill>
                <a:uFillTx/>
                <a:latin typeface="Aeonik Medium" panose="020B0503030300000000" pitchFamily="34" charset="0"/>
                <a:ea typeface="+mn-ea"/>
                <a:cs typeface="+mn-cs"/>
                <a:sym typeface="Helvetica Neue"/>
              </a:defRPr>
            </a:lvl1pPr>
            <a:lvl2pPr marL="952392" marR="0" indent="-342883" algn="l" defTabSz="2437972" rtl="0" eaLnBrk="1" latinLnBrk="0" hangingPunct="1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2pPr>
            <a:lvl3pPr marL="1561900" marR="0" indent="-342883" algn="l" defTabSz="2437972" rtl="0" eaLnBrk="1" latinLnBrk="0" hangingPunct="1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3pPr>
            <a:lvl4pPr marL="2171409" marR="0" indent="-342883" algn="l" defTabSz="2437972" rtl="0" eaLnBrk="1" latinLnBrk="0" hangingPunct="1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4pPr>
            <a:lvl5pPr marL="2780917" marR="0" indent="-342883" algn="l" defTabSz="2437972" rtl="0" eaLnBrk="1" latinLnBrk="0" hangingPunct="1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5pPr>
            <a:lvl6pPr marL="3390426" marR="0" indent="-342883" algn="l" defTabSz="2437972" rtl="0" eaLnBrk="1" latinLnBrk="0" hangingPunct="1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6pPr>
            <a:lvl7pPr marL="3999934" marR="0" indent="-342883" algn="l" defTabSz="2437972" rtl="0" eaLnBrk="1" latinLnBrk="0" hangingPunct="1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7pPr>
            <a:lvl8pPr marL="4266561" marR="0" indent="0" algn="l" defTabSz="2437972" rtl="0" eaLnBrk="1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8pPr>
            <a:lvl9pPr marL="5485578" marR="0" indent="-609510" algn="l" defTabSz="2437972" rtl="0" eaLnBrk="1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500" b="0" i="0" u="none" strike="noStrike" cap="none" spc="0" baseline="0">
                <a:solidFill>
                  <a:schemeClr val="tx1"/>
                </a:solidFill>
                <a:uFillTx/>
                <a:latin typeface="Aeonik" panose="020B0503030300000000" pitchFamily="34" charset="0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24379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5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 panose="020B0503030300000000" pitchFamily="34" charset="0"/>
                <a:ea typeface="Helvetica Neue"/>
                <a:cs typeface="Helvetica Neue"/>
                <a:sym typeface="Helvetica Neue"/>
              </a:rPr>
              <a:t>...why let bad data control your decarbonization strategy? </a:t>
            </a:r>
          </a:p>
        </p:txBody>
      </p:sp>
    </p:spTree>
    <p:extLst>
      <p:ext uri="{BB962C8B-B14F-4D97-AF65-F5344CB8AC3E}">
        <p14:creationId xmlns:p14="http://schemas.microsoft.com/office/powerpoint/2010/main" val="222727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B9D313-8211-5374-D646-7E68171B94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4" y="7191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30" imgH="531" progId="TCLayout.ActiveDocument.1">
                  <p:embed/>
                </p:oleObj>
              </mc:Choice>
              <mc:Fallback>
                <p:oleObj name="think-cell Slide" r:id="rId1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B9D313-8211-5374-D646-7E68171B9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174" y="7191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Slide headlin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>
                <a:effectLst/>
                <a:latin typeface="Siemens Sans" pitchFamily="2" charset="0"/>
              </a:rPr>
              <a:t>Achievements and way forward</a:t>
            </a:r>
            <a:endParaRPr lang="en-US">
              <a:latin typeface="Siemens Sans" pitchFamily="2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E552C8C-862A-B722-83D9-AEA9FD7FABBC}"/>
              </a:ext>
            </a:extLst>
          </p:cNvPr>
          <p:cNvGrpSpPr/>
          <p:nvPr/>
        </p:nvGrpSpPr>
        <p:grpSpPr>
          <a:xfrm>
            <a:off x="14358869" y="2333822"/>
            <a:ext cx="10936283" cy="10936283"/>
            <a:chOff x="14358869" y="2333822"/>
            <a:chExt cx="10936283" cy="10936283"/>
          </a:xfrm>
        </p:grpSpPr>
        <p:sp>
          <p:nvSpPr>
            <p:cNvPr id="26" name="Freeform 120">
              <a:extLst>
                <a:ext uri="{FF2B5EF4-FFF2-40B4-BE49-F238E27FC236}">
                  <a16:creationId xmlns:a16="http://schemas.microsoft.com/office/drawing/2014/main" id="{36430DE8-9B36-0349-8D19-908C8396D2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5848931" y="4938221"/>
              <a:ext cx="882125" cy="1397297"/>
            </a:xfrm>
            <a:custGeom>
              <a:avLst/>
              <a:gdLst>
                <a:gd name="T0" fmla="*/ 0 w 228"/>
                <a:gd name="T1" fmla="*/ 343 h 361"/>
                <a:gd name="T2" fmla="*/ 13 w 228"/>
                <a:gd name="T3" fmla="*/ 292 h 361"/>
                <a:gd name="T4" fmla="*/ 96 w 228"/>
                <a:gd name="T5" fmla="*/ 312 h 361"/>
                <a:gd name="T6" fmla="*/ 151 w 228"/>
                <a:gd name="T7" fmla="*/ 293 h 361"/>
                <a:gd name="T8" fmla="*/ 166 w 228"/>
                <a:gd name="T9" fmla="*/ 253 h 361"/>
                <a:gd name="T10" fmla="*/ 139 w 228"/>
                <a:gd name="T11" fmla="*/ 207 h 361"/>
                <a:gd name="T12" fmla="*/ 77 w 228"/>
                <a:gd name="T13" fmla="*/ 196 h 361"/>
                <a:gd name="T14" fmla="*/ 48 w 228"/>
                <a:gd name="T15" fmla="*/ 197 h 361"/>
                <a:gd name="T16" fmla="*/ 48 w 228"/>
                <a:gd name="T17" fmla="*/ 149 h 361"/>
                <a:gd name="T18" fmla="*/ 71 w 228"/>
                <a:gd name="T19" fmla="*/ 151 h 361"/>
                <a:gd name="T20" fmla="*/ 138 w 228"/>
                <a:gd name="T21" fmla="*/ 137 h 361"/>
                <a:gd name="T22" fmla="*/ 162 w 228"/>
                <a:gd name="T23" fmla="*/ 96 h 361"/>
                <a:gd name="T24" fmla="*/ 147 w 228"/>
                <a:gd name="T25" fmla="*/ 61 h 361"/>
                <a:gd name="T26" fmla="*/ 103 w 228"/>
                <a:gd name="T27" fmla="*/ 49 h 361"/>
                <a:gd name="T28" fmla="*/ 23 w 228"/>
                <a:gd name="T29" fmla="*/ 68 h 361"/>
                <a:gd name="T30" fmla="*/ 11 w 228"/>
                <a:gd name="T31" fmla="*/ 19 h 361"/>
                <a:gd name="T32" fmla="*/ 110 w 228"/>
                <a:gd name="T33" fmla="*/ 0 h 361"/>
                <a:gd name="T34" fmla="*/ 193 w 228"/>
                <a:gd name="T35" fmla="*/ 23 h 361"/>
                <a:gd name="T36" fmla="*/ 224 w 228"/>
                <a:gd name="T37" fmla="*/ 90 h 361"/>
                <a:gd name="T38" fmla="*/ 193 w 228"/>
                <a:gd name="T39" fmla="*/ 157 h 361"/>
                <a:gd name="T40" fmla="*/ 153 w 228"/>
                <a:gd name="T41" fmla="*/ 173 h 361"/>
                <a:gd name="T42" fmla="*/ 205 w 228"/>
                <a:gd name="T43" fmla="*/ 195 h 361"/>
                <a:gd name="T44" fmla="*/ 228 w 228"/>
                <a:gd name="T45" fmla="*/ 255 h 361"/>
                <a:gd name="T46" fmla="*/ 192 w 228"/>
                <a:gd name="T47" fmla="*/ 335 h 361"/>
                <a:gd name="T48" fmla="*/ 101 w 228"/>
                <a:gd name="T49" fmla="*/ 361 h 361"/>
                <a:gd name="T50" fmla="*/ 0 w 228"/>
                <a:gd name="T51" fmla="*/ 343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8" h="361">
                  <a:moveTo>
                    <a:pt x="0" y="343"/>
                  </a:moveTo>
                  <a:cubicBezTo>
                    <a:pt x="13" y="292"/>
                    <a:pt x="13" y="292"/>
                    <a:pt x="13" y="292"/>
                  </a:cubicBezTo>
                  <a:cubicBezTo>
                    <a:pt x="41" y="306"/>
                    <a:pt x="69" y="312"/>
                    <a:pt x="96" y="312"/>
                  </a:cubicBezTo>
                  <a:cubicBezTo>
                    <a:pt x="121" y="312"/>
                    <a:pt x="139" y="306"/>
                    <a:pt x="151" y="293"/>
                  </a:cubicBezTo>
                  <a:cubicBezTo>
                    <a:pt x="161" y="283"/>
                    <a:pt x="166" y="269"/>
                    <a:pt x="166" y="253"/>
                  </a:cubicBezTo>
                  <a:cubicBezTo>
                    <a:pt x="166" y="232"/>
                    <a:pt x="157" y="217"/>
                    <a:pt x="139" y="207"/>
                  </a:cubicBezTo>
                  <a:cubicBezTo>
                    <a:pt x="125" y="200"/>
                    <a:pt x="104" y="196"/>
                    <a:pt x="77" y="196"/>
                  </a:cubicBezTo>
                  <a:cubicBezTo>
                    <a:pt x="69" y="196"/>
                    <a:pt x="60" y="196"/>
                    <a:pt x="48" y="197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56" y="150"/>
                    <a:pt x="64" y="151"/>
                    <a:pt x="71" y="151"/>
                  </a:cubicBezTo>
                  <a:cubicBezTo>
                    <a:pt x="101" y="151"/>
                    <a:pt x="124" y="146"/>
                    <a:pt x="138" y="137"/>
                  </a:cubicBezTo>
                  <a:cubicBezTo>
                    <a:pt x="154" y="127"/>
                    <a:pt x="162" y="114"/>
                    <a:pt x="162" y="96"/>
                  </a:cubicBezTo>
                  <a:cubicBezTo>
                    <a:pt x="162" y="82"/>
                    <a:pt x="157" y="70"/>
                    <a:pt x="147" y="61"/>
                  </a:cubicBezTo>
                  <a:cubicBezTo>
                    <a:pt x="137" y="53"/>
                    <a:pt x="122" y="49"/>
                    <a:pt x="103" y="49"/>
                  </a:cubicBezTo>
                  <a:cubicBezTo>
                    <a:pt x="80" y="49"/>
                    <a:pt x="54" y="55"/>
                    <a:pt x="23" y="6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43" y="6"/>
                    <a:pt x="76" y="0"/>
                    <a:pt x="110" y="0"/>
                  </a:cubicBezTo>
                  <a:cubicBezTo>
                    <a:pt x="146" y="0"/>
                    <a:pt x="173" y="8"/>
                    <a:pt x="193" y="23"/>
                  </a:cubicBezTo>
                  <a:cubicBezTo>
                    <a:pt x="214" y="38"/>
                    <a:pt x="224" y="61"/>
                    <a:pt x="224" y="90"/>
                  </a:cubicBezTo>
                  <a:cubicBezTo>
                    <a:pt x="224" y="120"/>
                    <a:pt x="214" y="142"/>
                    <a:pt x="193" y="157"/>
                  </a:cubicBezTo>
                  <a:cubicBezTo>
                    <a:pt x="183" y="165"/>
                    <a:pt x="170" y="170"/>
                    <a:pt x="153" y="173"/>
                  </a:cubicBezTo>
                  <a:cubicBezTo>
                    <a:pt x="176" y="177"/>
                    <a:pt x="193" y="184"/>
                    <a:pt x="205" y="195"/>
                  </a:cubicBezTo>
                  <a:cubicBezTo>
                    <a:pt x="220" y="210"/>
                    <a:pt x="228" y="230"/>
                    <a:pt x="228" y="255"/>
                  </a:cubicBezTo>
                  <a:cubicBezTo>
                    <a:pt x="228" y="289"/>
                    <a:pt x="216" y="316"/>
                    <a:pt x="192" y="335"/>
                  </a:cubicBezTo>
                  <a:cubicBezTo>
                    <a:pt x="171" y="352"/>
                    <a:pt x="140" y="361"/>
                    <a:pt x="101" y="361"/>
                  </a:cubicBezTo>
                  <a:cubicBezTo>
                    <a:pt x="65" y="361"/>
                    <a:pt x="32" y="355"/>
                    <a:pt x="0" y="343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</p:spPr>
          <p:txBody>
            <a:bodyPr vert="horz" wrap="square" lIns="182676" tIns="91338" rIns="182676" bIns="91338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endParaRPr lang="en-US" sz="3596">
                <a:solidFill>
                  <a:srgbClr val="879BAA"/>
                </a:solidFill>
                <a:latin typeface="+mn-lt"/>
              </a:endParaRPr>
            </a:p>
          </p:txBody>
        </p:sp>
        <p:sp>
          <p:nvSpPr>
            <p:cNvPr id="28" name="Rechteck 27" descr="Sample content 3rd level">
              <a:extLst>
                <a:ext uri="{FF2B5EF4-FFF2-40B4-BE49-F238E27FC236}">
                  <a16:creationId xmlns:a16="http://schemas.microsoft.com/office/drawing/2014/main" id="{BC2E2E22-50E3-DB40-839E-DF2A0D20BAD9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17300547" y="5067124"/>
              <a:ext cx="5750754" cy="389407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Bef>
                  <a:spcPts val="0"/>
                </a:spcBef>
                <a:buClr>
                  <a:schemeClr val="accent1"/>
                </a:buClr>
              </a:pPr>
              <a:r>
                <a:rPr lang="en-US" sz="5196" b="1">
                  <a:solidFill>
                    <a:schemeClr val="tx1">
                      <a:lumMod val="85000"/>
                    </a:schemeClr>
                  </a:solidFill>
                  <a:latin typeface="+mj-lt"/>
                </a:rPr>
                <a:t>Long-term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Market, supplier and product perspective reflected in upstream CO</a:t>
              </a:r>
              <a:r>
                <a:rPr lang="en-US" sz="2798" baseline="-25000">
                  <a:solidFill>
                    <a:prstClr val="white"/>
                  </a:solidFill>
                  <a:latin typeface="Arial"/>
                </a:rPr>
                <a:t>2</a:t>
              </a:r>
              <a:r>
                <a:rPr lang="en-US" sz="2798">
                  <a:solidFill>
                    <a:prstClr val="white"/>
                  </a:solidFill>
                  <a:latin typeface="Arial"/>
                </a:rPr>
                <a:t> monitoring and reporting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Comprehensive carbon management incl. scenarios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Integrated in overarching sustainability management</a:t>
              </a:r>
            </a:p>
          </p:txBody>
        </p:sp>
        <p:sp>
          <p:nvSpPr>
            <p:cNvPr id="4" name="Bogen 3">
              <a:extLst>
                <a:ext uri="{FF2B5EF4-FFF2-40B4-BE49-F238E27FC236}">
                  <a16:creationId xmlns:a16="http://schemas.microsoft.com/office/drawing/2014/main" id="{13664695-97F1-7B46-9F28-FC5E746164E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 rot="18243897">
              <a:off x="14358869" y="2333822"/>
              <a:ext cx="10936283" cy="10936283"/>
            </a:xfrm>
            <a:prstGeom prst="arc">
              <a:avLst>
                <a:gd name="adj1" fmla="val 16200000"/>
                <a:gd name="adj2" fmla="val 21289156"/>
              </a:avLst>
            </a:prstGeom>
            <a:noFill/>
            <a:ln w="63500" cap="flat" cmpd="sng" algn="ctr">
              <a:solidFill>
                <a:schemeClr val="tx1">
                  <a:lumMod val="85000"/>
                </a:schemeClr>
              </a:solidFill>
              <a:prstDash val="solid"/>
              <a:round/>
              <a:headEnd type="none" w="med" len="med"/>
              <a:tailEnd type="triangle" w="med" len="sm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826881"/>
              <a:endParaRPr lang="en-US" sz="4796">
                <a:solidFill>
                  <a:srgbClr val="000000"/>
                </a:solidFill>
                <a:ea typeface="ヒラギノ角ゴ Pro W3" charset="0"/>
              </a:endParaRP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0452DCC-1045-0E91-7D4E-48CE7F4932B6}"/>
              </a:ext>
            </a:extLst>
          </p:cNvPr>
          <p:cNvGrpSpPr/>
          <p:nvPr/>
        </p:nvGrpSpPr>
        <p:grpSpPr>
          <a:xfrm>
            <a:off x="7153326" y="3157858"/>
            <a:ext cx="10936283" cy="10936283"/>
            <a:chOff x="7153326" y="3157858"/>
            <a:chExt cx="10936283" cy="10936283"/>
          </a:xfrm>
        </p:grpSpPr>
        <p:sp>
          <p:nvSpPr>
            <p:cNvPr id="25" name="Freeform 119">
              <a:extLst>
                <a:ext uri="{FF2B5EF4-FFF2-40B4-BE49-F238E27FC236}">
                  <a16:creationId xmlns:a16="http://schemas.microsoft.com/office/drawing/2014/main" id="{8CFDA767-443F-664E-B0E3-C6EB15776E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515054" y="6034893"/>
              <a:ext cx="882125" cy="1373979"/>
            </a:xfrm>
            <a:custGeom>
              <a:avLst/>
              <a:gdLst>
                <a:gd name="T0" fmla="*/ 0 w 228"/>
                <a:gd name="T1" fmla="*/ 355 h 355"/>
                <a:gd name="T2" fmla="*/ 0 w 228"/>
                <a:gd name="T3" fmla="*/ 307 h 355"/>
                <a:gd name="T4" fmla="*/ 105 w 228"/>
                <a:gd name="T5" fmla="*/ 203 h 355"/>
                <a:gd name="T6" fmla="*/ 153 w 228"/>
                <a:gd name="T7" fmla="*/ 141 h 355"/>
                <a:gd name="T8" fmla="*/ 164 w 228"/>
                <a:gd name="T9" fmla="*/ 100 h 355"/>
                <a:gd name="T10" fmla="*/ 148 w 228"/>
                <a:gd name="T11" fmla="*/ 64 h 355"/>
                <a:gd name="T12" fmla="*/ 104 w 228"/>
                <a:gd name="T13" fmla="*/ 49 h 355"/>
                <a:gd name="T14" fmla="*/ 20 w 228"/>
                <a:gd name="T15" fmla="*/ 75 h 355"/>
                <a:gd name="T16" fmla="*/ 5 w 228"/>
                <a:gd name="T17" fmla="*/ 24 h 355"/>
                <a:gd name="T18" fmla="*/ 111 w 228"/>
                <a:gd name="T19" fmla="*/ 0 h 355"/>
                <a:gd name="T20" fmla="*/ 193 w 228"/>
                <a:gd name="T21" fmla="*/ 23 h 355"/>
                <a:gd name="T22" fmla="*/ 225 w 228"/>
                <a:gd name="T23" fmla="*/ 97 h 355"/>
                <a:gd name="T24" fmla="*/ 195 w 228"/>
                <a:gd name="T25" fmla="*/ 183 h 355"/>
                <a:gd name="T26" fmla="*/ 80 w 228"/>
                <a:gd name="T27" fmla="*/ 306 h 355"/>
                <a:gd name="T28" fmla="*/ 228 w 228"/>
                <a:gd name="T29" fmla="*/ 306 h 355"/>
                <a:gd name="T30" fmla="*/ 228 w 228"/>
                <a:gd name="T31" fmla="*/ 355 h 355"/>
                <a:gd name="T32" fmla="*/ 0 w 228"/>
                <a:gd name="T33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8" h="355">
                  <a:moveTo>
                    <a:pt x="0" y="355"/>
                  </a:moveTo>
                  <a:cubicBezTo>
                    <a:pt x="0" y="307"/>
                    <a:pt x="0" y="307"/>
                    <a:pt x="0" y="307"/>
                  </a:cubicBezTo>
                  <a:cubicBezTo>
                    <a:pt x="46" y="264"/>
                    <a:pt x="81" y="230"/>
                    <a:pt x="105" y="203"/>
                  </a:cubicBezTo>
                  <a:cubicBezTo>
                    <a:pt x="130" y="176"/>
                    <a:pt x="146" y="155"/>
                    <a:pt x="153" y="141"/>
                  </a:cubicBezTo>
                  <a:cubicBezTo>
                    <a:pt x="160" y="126"/>
                    <a:pt x="164" y="113"/>
                    <a:pt x="164" y="100"/>
                  </a:cubicBezTo>
                  <a:cubicBezTo>
                    <a:pt x="164" y="85"/>
                    <a:pt x="159" y="73"/>
                    <a:pt x="148" y="64"/>
                  </a:cubicBezTo>
                  <a:cubicBezTo>
                    <a:pt x="137" y="54"/>
                    <a:pt x="122" y="49"/>
                    <a:pt x="104" y="49"/>
                  </a:cubicBezTo>
                  <a:cubicBezTo>
                    <a:pt x="80" y="49"/>
                    <a:pt x="52" y="58"/>
                    <a:pt x="20" y="75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40" y="8"/>
                    <a:pt x="75" y="0"/>
                    <a:pt x="111" y="0"/>
                  </a:cubicBezTo>
                  <a:cubicBezTo>
                    <a:pt x="145" y="0"/>
                    <a:pt x="173" y="8"/>
                    <a:pt x="193" y="23"/>
                  </a:cubicBezTo>
                  <a:cubicBezTo>
                    <a:pt x="215" y="40"/>
                    <a:pt x="225" y="65"/>
                    <a:pt x="225" y="97"/>
                  </a:cubicBezTo>
                  <a:cubicBezTo>
                    <a:pt x="225" y="125"/>
                    <a:pt x="215" y="154"/>
                    <a:pt x="195" y="183"/>
                  </a:cubicBezTo>
                  <a:cubicBezTo>
                    <a:pt x="173" y="215"/>
                    <a:pt x="134" y="255"/>
                    <a:pt x="80" y="306"/>
                  </a:cubicBezTo>
                  <a:cubicBezTo>
                    <a:pt x="228" y="306"/>
                    <a:pt x="228" y="306"/>
                    <a:pt x="228" y="306"/>
                  </a:cubicBezTo>
                  <a:cubicBezTo>
                    <a:pt x="228" y="355"/>
                    <a:pt x="228" y="355"/>
                    <a:pt x="228" y="355"/>
                  </a:cubicBezTo>
                  <a:lnTo>
                    <a:pt x="0" y="355"/>
                  </a:lnTo>
                  <a:close/>
                </a:path>
              </a:pathLst>
            </a:custGeom>
            <a:solidFill>
              <a:srgbClr val="00FFB9"/>
            </a:solidFill>
            <a:ln>
              <a:noFill/>
            </a:ln>
          </p:spPr>
          <p:txBody>
            <a:bodyPr vert="horz" wrap="square" lIns="182676" tIns="91338" rIns="182676" bIns="91338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endParaRPr lang="en-US" sz="3596">
                <a:latin typeface="+mn-lt"/>
              </a:endParaRPr>
            </a:p>
          </p:txBody>
        </p:sp>
        <p:sp>
          <p:nvSpPr>
            <p:cNvPr id="27" name="Rechteck 26" descr="Sample content 2nd level">
              <a:extLst>
                <a:ext uri="{FF2B5EF4-FFF2-40B4-BE49-F238E27FC236}">
                  <a16:creationId xmlns:a16="http://schemas.microsoft.com/office/drawing/2014/main" id="{3411428E-7707-5846-9ABB-6CD51FFF6085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10151781" y="6149862"/>
              <a:ext cx="6343148" cy="443551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Bef>
                  <a:spcPts val="0"/>
                </a:spcBef>
                <a:buClr>
                  <a:schemeClr val="accent1"/>
                </a:buClr>
              </a:pPr>
              <a:r>
                <a:rPr lang="en-US" sz="5196" b="1">
                  <a:solidFill>
                    <a:srgbClr val="00FFB9"/>
                  </a:solidFill>
                  <a:latin typeface="+mj-lt"/>
                </a:rPr>
                <a:t>Next steps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Further increase supplier coverage and reduction commitment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Strengthen assurance level of processes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Evaluate consideration of product perspective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Evaluate tier-n decarbonization approach</a:t>
              </a:r>
              <a:endParaRPr lang="en-US" sz="5196" b="1">
                <a:solidFill>
                  <a:srgbClr val="00FFB9"/>
                </a:solidFill>
                <a:latin typeface="+mj-lt"/>
              </a:endParaRPr>
            </a:p>
          </p:txBody>
        </p:sp>
        <p:sp>
          <p:nvSpPr>
            <p:cNvPr id="18" name="Bogen 17">
              <a:extLst>
                <a:ext uri="{FF2B5EF4-FFF2-40B4-BE49-F238E27FC236}">
                  <a16:creationId xmlns:a16="http://schemas.microsoft.com/office/drawing/2014/main" id="{BB8DEB0F-E905-D045-9F42-28B2AC35829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 rot="18243897">
              <a:off x="7153326" y="3157858"/>
              <a:ext cx="10936283" cy="10936283"/>
            </a:xfrm>
            <a:prstGeom prst="arc">
              <a:avLst>
                <a:gd name="adj1" fmla="val 16200000"/>
                <a:gd name="adj2" fmla="val 21265869"/>
              </a:avLst>
            </a:prstGeom>
            <a:noFill/>
            <a:ln w="63500" cap="flat" cmpd="sng" algn="ctr">
              <a:solidFill>
                <a:srgbClr val="00FFB9"/>
              </a:solidFill>
              <a:prstDash val="solid"/>
              <a:round/>
              <a:headEnd type="none" w="med" len="med"/>
              <a:tailEnd type="triangle" w="med" len="sm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826881"/>
              <a:endParaRPr lang="en-US" sz="4796">
                <a:solidFill>
                  <a:srgbClr val="000000"/>
                </a:solidFill>
                <a:ea typeface="ヒラギノ角ゴ Pro W3" charset="0"/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D338482-14F6-E0F0-0B59-2EA5359F2BD8}"/>
              </a:ext>
            </a:extLst>
          </p:cNvPr>
          <p:cNvGrpSpPr/>
          <p:nvPr/>
        </p:nvGrpSpPr>
        <p:grpSpPr>
          <a:xfrm>
            <a:off x="-52216" y="3981892"/>
            <a:ext cx="10936283" cy="10936283"/>
            <a:chOff x="-52216" y="3981892"/>
            <a:chExt cx="10936283" cy="10936283"/>
          </a:xfrm>
        </p:grpSpPr>
        <p:sp>
          <p:nvSpPr>
            <p:cNvPr id="21" name="Freeform 118">
              <a:extLst>
                <a:ext uri="{FF2B5EF4-FFF2-40B4-BE49-F238E27FC236}">
                  <a16:creationId xmlns:a16="http://schemas.microsoft.com/office/drawing/2014/main" id="{D9FCE314-82A7-BA48-9DA0-342711A6C1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277925" y="7296710"/>
              <a:ext cx="777945" cy="1350654"/>
            </a:xfrm>
            <a:custGeom>
              <a:avLst/>
              <a:gdLst>
                <a:gd name="T0" fmla="*/ 717 w 1501"/>
                <a:gd name="T1" fmla="*/ 2270 h 2606"/>
                <a:gd name="T2" fmla="*/ 717 w 1501"/>
                <a:gd name="T3" fmla="*/ 485 h 2606"/>
                <a:gd name="T4" fmla="*/ 202 w 1501"/>
                <a:gd name="T5" fmla="*/ 814 h 2606"/>
                <a:gd name="T6" fmla="*/ 0 w 1501"/>
                <a:gd name="T7" fmla="*/ 463 h 2606"/>
                <a:gd name="T8" fmla="*/ 762 w 1501"/>
                <a:gd name="T9" fmla="*/ 0 h 2606"/>
                <a:gd name="T10" fmla="*/ 1158 w 1501"/>
                <a:gd name="T11" fmla="*/ 0 h 2606"/>
                <a:gd name="T12" fmla="*/ 1158 w 1501"/>
                <a:gd name="T13" fmla="*/ 2270 h 2606"/>
                <a:gd name="T14" fmla="*/ 1501 w 1501"/>
                <a:gd name="T15" fmla="*/ 2285 h 2606"/>
                <a:gd name="T16" fmla="*/ 1501 w 1501"/>
                <a:gd name="T17" fmla="*/ 2606 h 2606"/>
                <a:gd name="T18" fmla="*/ 381 w 1501"/>
                <a:gd name="T19" fmla="*/ 2606 h 2606"/>
                <a:gd name="T20" fmla="*/ 381 w 1501"/>
                <a:gd name="T21" fmla="*/ 2285 h 2606"/>
                <a:gd name="T22" fmla="*/ 717 w 1501"/>
                <a:gd name="T23" fmla="*/ 2270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1" h="2606">
                  <a:moveTo>
                    <a:pt x="717" y="2270"/>
                  </a:moveTo>
                  <a:lnTo>
                    <a:pt x="717" y="485"/>
                  </a:lnTo>
                  <a:lnTo>
                    <a:pt x="202" y="814"/>
                  </a:lnTo>
                  <a:lnTo>
                    <a:pt x="0" y="463"/>
                  </a:lnTo>
                  <a:lnTo>
                    <a:pt x="762" y="0"/>
                  </a:lnTo>
                  <a:lnTo>
                    <a:pt x="1158" y="0"/>
                  </a:lnTo>
                  <a:lnTo>
                    <a:pt x="1158" y="2270"/>
                  </a:lnTo>
                  <a:lnTo>
                    <a:pt x="1501" y="2285"/>
                  </a:lnTo>
                  <a:lnTo>
                    <a:pt x="1501" y="2606"/>
                  </a:lnTo>
                  <a:lnTo>
                    <a:pt x="381" y="2606"/>
                  </a:lnTo>
                  <a:lnTo>
                    <a:pt x="381" y="2285"/>
                  </a:lnTo>
                  <a:lnTo>
                    <a:pt x="717" y="2270"/>
                  </a:lnTo>
                  <a:close/>
                </a:path>
              </a:pathLst>
            </a:custGeom>
            <a:solidFill>
              <a:srgbClr val="00AF8E"/>
            </a:solidFill>
            <a:ln>
              <a:noFill/>
            </a:ln>
          </p:spPr>
          <p:txBody>
            <a:bodyPr vert="horz" wrap="square" lIns="182676" tIns="91338" rIns="182676" bIns="91338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endParaRPr lang="en-US" sz="3596">
                <a:latin typeface="+mn-lt"/>
              </a:endParaRPr>
            </a:p>
          </p:txBody>
        </p:sp>
        <p:sp>
          <p:nvSpPr>
            <p:cNvPr id="22" name="Rechteck 21" descr="Sample content 1st level">
              <a:extLst>
                <a:ext uri="{FF2B5EF4-FFF2-40B4-BE49-F238E27FC236}">
                  <a16:creationId xmlns:a16="http://schemas.microsoft.com/office/drawing/2014/main" id="{0CA5DC18-A890-B842-ACDE-76C0C130EBF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606258" y="7406317"/>
              <a:ext cx="6787747" cy="489717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Bef>
                  <a:spcPts val="1200"/>
                </a:spcBef>
                <a:buSzPct val="100000"/>
                <a:defRPr/>
              </a:pPr>
              <a:r>
                <a:rPr lang="en-US" sz="5196" b="1">
                  <a:solidFill>
                    <a:srgbClr val="00AF8E"/>
                  </a:solidFill>
                  <a:latin typeface="+mj-lt"/>
                </a:rPr>
                <a:t>Achievements </a:t>
              </a:r>
            </a:p>
            <a:p>
              <a:pPr marL="363538" indent="-363538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Upstream CO</a:t>
              </a:r>
              <a:r>
                <a:rPr lang="en-US" sz="2798" baseline="-25000">
                  <a:solidFill>
                    <a:prstClr val="white"/>
                  </a:solidFill>
                  <a:latin typeface="Arial"/>
                </a:rPr>
                <a:t>2</a:t>
              </a:r>
              <a:r>
                <a:rPr lang="en-US" sz="2798">
                  <a:solidFill>
                    <a:prstClr val="white"/>
                  </a:solidFill>
                  <a:latin typeface="Arial"/>
                </a:rPr>
                <a:t> management at-scale, powered by </a:t>
              </a:r>
              <a:r>
                <a:rPr lang="en-US" sz="2798" err="1">
                  <a:solidFill>
                    <a:prstClr val="white"/>
                  </a:solidFill>
                  <a:latin typeface="Arial"/>
                </a:rPr>
                <a:t>supplier+s</a:t>
              </a:r>
              <a:r>
                <a:rPr lang="en-US" sz="2798">
                  <a:solidFill>
                    <a:prstClr val="white"/>
                  </a:solidFill>
                  <a:latin typeface="Arial"/>
                </a:rPr>
                <a:t> and </a:t>
              </a:r>
              <a:r>
                <a:rPr lang="en-US" sz="2798" err="1">
                  <a:solidFill>
                    <a:prstClr val="white"/>
                  </a:solidFill>
                  <a:latin typeface="Arial"/>
                </a:rPr>
                <a:t>item+s</a:t>
              </a:r>
              <a:endParaRPr lang="en-US" sz="2798">
                <a:solidFill>
                  <a:prstClr val="white"/>
                </a:solidFill>
                <a:latin typeface="Arial"/>
              </a:endParaRPr>
            </a:p>
            <a:p>
              <a:pPr marL="363538" indent="-363538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Internal target group: 4.000+ colleagues</a:t>
              </a:r>
            </a:p>
            <a:p>
              <a:pPr marL="363538" indent="-363538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Suppliers invited: &gt; 10.000 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Responses: &gt; 6.000 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Transparency: avg. &gt; 90%</a:t>
              </a:r>
            </a:p>
            <a:p>
              <a:pPr marL="361572" indent="-361572">
                <a:lnSpc>
                  <a:spcPct val="90000"/>
                </a:lnSpc>
                <a:spcBef>
                  <a:spcPts val="1200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</a:rPr>
                <a:t>Performance: avg. 9% reduction</a:t>
              </a:r>
            </a:p>
            <a:p>
              <a:pPr marL="363538" indent="-363538">
                <a:lnSpc>
                  <a:spcPct val="90000"/>
                </a:lnSpc>
                <a:spcBef>
                  <a:spcPts val="1200"/>
                </a:spcBef>
                <a:buSzPct val="100000"/>
                <a:defRPr/>
              </a:pPr>
              <a:r>
                <a:rPr lang="en-US" sz="2798">
                  <a:solidFill>
                    <a:prstClr val="white"/>
                  </a:solidFill>
                  <a:latin typeface="Arial"/>
                  <a:sym typeface="Wingdings" panose="05000000000000000000" pitchFamily="2" charset="2"/>
                </a:rPr>
                <a:t>	 </a:t>
              </a:r>
              <a:r>
                <a:rPr lang="en-US" sz="2798">
                  <a:solidFill>
                    <a:prstClr val="white"/>
                  </a:solidFill>
                  <a:latin typeface="Arial"/>
                </a:rPr>
                <a:t>0,5 Mt. reduction in prev. year</a:t>
              </a:r>
            </a:p>
          </p:txBody>
        </p:sp>
        <p:sp>
          <p:nvSpPr>
            <p:cNvPr id="19" name="Bogen 18">
              <a:extLst>
                <a:ext uri="{FF2B5EF4-FFF2-40B4-BE49-F238E27FC236}">
                  <a16:creationId xmlns:a16="http://schemas.microsoft.com/office/drawing/2014/main" id="{FFC053E9-383D-0E46-BC28-244C0FBD9EE6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 rot="18243897">
              <a:off x="-52216" y="3981892"/>
              <a:ext cx="10936283" cy="10936283"/>
            </a:xfrm>
            <a:prstGeom prst="arc">
              <a:avLst>
                <a:gd name="adj1" fmla="val 16200000"/>
                <a:gd name="adj2" fmla="val 21258845"/>
              </a:avLst>
            </a:prstGeom>
            <a:noFill/>
            <a:ln w="63500" cap="flat" cmpd="sng" algn="ctr">
              <a:solidFill>
                <a:srgbClr val="00AF8E"/>
              </a:solidFill>
              <a:prstDash val="solid"/>
              <a:round/>
              <a:headEnd type="none" w="lg" len="sm"/>
              <a:tailEnd type="triangle" w="med" len="sm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826881"/>
              <a:endParaRPr lang="en-US" sz="4796">
                <a:solidFill>
                  <a:srgbClr val="000000"/>
                </a:solidFill>
                <a:ea typeface="ヒラギノ角ゴ Pro W3" charset="0"/>
              </a:endParaRPr>
            </a:p>
          </p:txBody>
        </p:sp>
      </p:grpSp>
      <p:sp>
        <p:nvSpPr>
          <p:cNvPr id="7" name="Slide Number Placeholder 6" descr="Page number">
            <a:extLst>
              <a:ext uri="{FF2B5EF4-FFF2-40B4-BE49-F238E27FC236}">
                <a16:creationId xmlns:a16="http://schemas.microsoft.com/office/drawing/2014/main" id="{9045A31E-D252-4B34-8983-4762DDA339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2270" y="12590598"/>
            <a:ext cx="1295916" cy="1093759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1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F6AEFE16-F115-CC4B-2EB7-1BB9A45A11FA}"/>
              </a:ext>
            </a:extLst>
          </p:cNvPr>
          <p:cNvSpPr txBox="1">
            <a:spLocks/>
          </p:cNvSpPr>
          <p:nvPr/>
        </p:nvSpPr>
        <p:spPr>
          <a:xfrm>
            <a:off x="2118182" y="12621600"/>
            <a:ext cx="18430800" cy="1094400"/>
          </a:xfrm>
          <a:prstGeom prst="rect">
            <a:avLst/>
          </a:prstGeom>
        </p:spPr>
        <p:txBody>
          <a:bodyPr/>
          <a:lstStyle>
            <a:defPPr marL="0" marR="0" indent="0" algn="l" defTabSz="182870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91435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1828709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2743063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3657417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4571771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5486126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640048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731483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algn="l" defTabSz="1828709" hangingPunct="1">
              <a:defRPr/>
            </a:pPr>
            <a:r>
              <a:rPr lang="en-US" sz="1800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</p:spTree>
    <p:extLst>
      <p:ext uri="{BB962C8B-B14F-4D97-AF65-F5344CB8AC3E}">
        <p14:creationId xmlns:p14="http://schemas.microsoft.com/office/powerpoint/2010/main" val="5535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6" name="You know more than you know."/>
          <p:cNvSpPr txBox="1"/>
          <p:nvPr/>
        </p:nvSpPr>
        <p:spPr>
          <a:xfrm>
            <a:off x="1330691" y="2507011"/>
            <a:ext cx="10621634" cy="3057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Carbon </a:t>
            </a:r>
            <a:r>
              <a:rPr kumimoji="0" lang="de-DE" sz="9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reduction</a:t>
            </a:r>
            <a:r>
              <a:rPr kumimoji="0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.</a:t>
            </a:r>
            <a:endParaRPr kumimoji="0" lang="de-DE" sz="9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Medium"/>
              <a:sym typeface="Aeonik Medium"/>
            </a:endParaRPr>
          </a:p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600"/>
              <a:t>Delivered.</a:t>
            </a:r>
            <a:endParaRPr kumimoji="0" sz="9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Medium"/>
              <a:sym typeface="Aeonik Medium"/>
            </a:endParaRPr>
          </a:p>
        </p:txBody>
      </p:sp>
      <p:sp>
        <p:nvSpPr>
          <p:cNvPr id="3057" name="matter+s allows businesses and their consultants to comprehensively assess complex global value chains with deep statistical data and readily available company data from procurement systems.…"/>
          <p:cNvSpPr txBox="1"/>
          <p:nvPr/>
        </p:nvSpPr>
        <p:spPr>
          <a:xfrm>
            <a:off x="1346760" y="5958431"/>
            <a:ext cx="9529787" cy="53271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/>
          <a:p>
            <a:pPr marL="342900" marR="0" lvl="0" indent="-34290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Measure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and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reduce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Scope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3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emissions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using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data</a:t>
            </a:r>
            <a:r>
              <a:rPr lang="de-DE" sz="2500" b="1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you</a:t>
            </a:r>
            <a:r>
              <a:rPr lang="de-DE" sz="2500" b="1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already</a:t>
            </a:r>
            <a:r>
              <a:rPr lang="de-DE" sz="2500" b="1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have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and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pertinent</a:t>
            </a:r>
            <a:r>
              <a:rPr lang="de-DE" sz="2500" b="1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insights</a:t>
            </a:r>
            <a:r>
              <a:rPr lang="de-DE" sz="2500" b="1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from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your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suppliers</a:t>
            </a:r>
            <a:endParaRPr lang="de-DE" sz="2500">
              <a:solidFill>
                <a:srgbClr val="000000"/>
              </a:solidFill>
              <a:latin typeface="Aeonik Light"/>
              <a:sym typeface="Aeonik Light"/>
            </a:endParaRPr>
          </a:p>
          <a:p>
            <a:pPr marL="342900" marR="0" lvl="0" indent="-34290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No</a:t>
            </a:r>
            <a:r>
              <a:rPr lang="de-DE" sz="2500" b="1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kumimoji="0" lang="de-DE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trade-off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between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accuracy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,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comprehensiveness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and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cost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effectiveness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.</a:t>
            </a:r>
          </a:p>
          <a:p>
            <a:pPr marL="342900" marR="0" lvl="0" indent="-34290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Work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with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a reliable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partner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who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</a:t>
            </a:r>
            <a:r>
              <a:rPr kumimoji="0" lang="de-DE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s</a:t>
            </a: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</a:t>
            </a:r>
            <a:r>
              <a:rPr kumimoji="0" lang="de-DE" sz="25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constantly</a:t>
            </a:r>
            <a:r>
              <a:rPr kumimoji="0" lang="de-DE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 </a:t>
            </a:r>
            <a:r>
              <a:rPr kumimoji="0" lang="de-DE" sz="25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nnovating</a:t>
            </a:r>
            <a:endParaRPr kumimoji="0" lang="de-DE" sz="25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342900" marR="0" lvl="0" indent="-34290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Fits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all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your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use</a:t>
            </a:r>
            <a:r>
              <a:rPr lang="de-DE" sz="2500" b="1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b="1" err="1">
                <a:solidFill>
                  <a:srgbClr val="000000"/>
                </a:solidFill>
                <a:latin typeface="Aeonik Light"/>
                <a:sym typeface="Aeonik Light"/>
              </a:rPr>
              <a:t>cases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: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regulatory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compliance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, annual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reporting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,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meeting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SBTi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ambitions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and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turning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your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procurement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strategy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into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a tangible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program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of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CO2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reduction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 </a:t>
            </a:r>
            <a:r>
              <a:rPr lang="de-DE" sz="2500" err="1">
                <a:solidFill>
                  <a:srgbClr val="000000"/>
                </a:solidFill>
                <a:latin typeface="Aeonik Light"/>
                <a:sym typeface="Aeonik Light"/>
              </a:rPr>
              <a:t>measures</a:t>
            </a:r>
            <a:r>
              <a:rPr lang="de-DE" sz="2500">
                <a:solidFill>
                  <a:srgbClr val="000000"/>
                </a:solidFill>
                <a:latin typeface="Aeonik Light"/>
                <a:sym typeface="Aeonik Light"/>
              </a:rPr>
              <a:t>.</a:t>
            </a:r>
            <a:endParaRPr kumimoji="0" lang="de-DE" sz="25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342900" marR="0" lvl="0" indent="-34290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</p:txBody>
      </p:sp>
      <p:pic>
        <p:nvPicPr>
          <p:cNvPr id="3059" name="aron-yigin-sNY6B9NsPP8-unsplash 2 Kopie4.jpg" descr="aron-yigin-sNY6B9NsPP8-unsplash 2 Kopie4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241116" y="-9157"/>
            <a:ext cx="12156786" cy="1095325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DED39DA1-03E2-26C1-A2F3-52C169D895C0}"/>
              </a:ext>
            </a:extLst>
          </p:cNvPr>
          <p:cNvSpPr/>
          <p:nvPr/>
        </p:nvSpPr>
        <p:spPr>
          <a:xfrm>
            <a:off x="23169817" y="12469695"/>
            <a:ext cx="633262" cy="633262"/>
          </a:xfrm>
          <a:prstGeom prst="roundRect">
            <a:avLst>
              <a:gd name="adj" fmla="val 9583"/>
            </a:avLst>
          </a:prstGeom>
          <a:solidFill>
            <a:srgbClr val="3C6DF6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D0EDBA3D-9EF3-AC00-1D4C-53BD67DF0E4E}"/>
              </a:ext>
            </a:extLst>
          </p:cNvPr>
          <p:cNvSpPr txBox="1"/>
          <p:nvPr/>
        </p:nvSpPr>
        <p:spPr>
          <a:xfrm>
            <a:off x="23169817" y="12549022"/>
            <a:ext cx="633262" cy="487307"/>
          </a:xfrm>
          <a:prstGeom prst="rect">
            <a:avLst/>
          </a:prstGeom>
          <a:solidFill>
            <a:srgbClr val="3C6DF6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pPr marL="0" marR="0" lvl="0" indent="0" algn="ctr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Regular"/>
                <a:sym typeface="Aeonik Regular"/>
              </a:rPr>
              <a:pPr marL="0" marR="0" lvl="0" indent="0" algn="ctr" defTabSz="2438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Regular"/>
              <a:sym typeface="Aeonik Regular"/>
            </a:endParaRPr>
          </a:p>
        </p:txBody>
      </p:sp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3857D717-0386-D20F-D3AA-CB66EB5272C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691" y="740552"/>
            <a:ext cx="5404954" cy="127836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You know more than you know.">
            <a:extLst>
              <a:ext uri="{FF2B5EF4-FFF2-40B4-BE49-F238E27FC236}">
                <a16:creationId xmlns:a16="http://schemas.microsoft.com/office/drawing/2014/main" id="{7017F9B4-A2A5-A8E9-3F0E-255605FF5224}"/>
              </a:ext>
            </a:extLst>
          </p:cNvPr>
          <p:cNvSpPr txBox="1"/>
          <p:nvPr/>
        </p:nvSpPr>
        <p:spPr>
          <a:xfrm>
            <a:off x="1733353" y="11231310"/>
            <a:ext cx="21753095" cy="15799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… </a:t>
            </a:r>
            <a:r>
              <a:rPr kumimoji="0" lang="de-DE" sz="9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we</a:t>
            </a: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 </a:t>
            </a:r>
            <a:r>
              <a:rPr kumimoji="0" lang="de-DE" sz="9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look</a:t>
            </a: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 </a:t>
            </a:r>
            <a:r>
              <a:rPr kumimoji="0" lang="de-DE" sz="9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forward</a:t>
            </a: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 </a:t>
            </a:r>
            <a:r>
              <a:rPr kumimoji="0" lang="de-DE" sz="9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to</a:t>
            </a: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 </a:t>
            </a:r>
            <a:r>
              <a:rPr kumimoji="0" lang="de-DE" sz="9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your</a:t>
            </a: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 </a:t>
            </a:r>
            <a:r>
              <a:rPr kumimoji="0" lang="de-DE" sz="9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questions</a:t>
            </a:r>
            <a:r>
              <a:rPr kumimoji="0" lang="de-DE" sz="9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!</a:t>
            </a:r>
            <a:endParaRPr kumimoji="0" sz="9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Medium"/>
              <a:sym typeface="Aeonik Medium"/>
            </a:endParaRPr>
          </a:p>
        </p:txBody>
      </p:sp>
    </p:spTree>
    <p:extLst>
      <p:ext uri="{BB962C8B-B14F-4D97-AF65-F5344CB8AC3E}">
        <p14:creationId xmlns:p14="http://schemas.microsoft.com/office/powerpoint/2010/main" val="322169841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3E334-8D9C-C63E-D9FB-0C0F7B35B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B16715-0B21-3562-F4FC-D7210936D67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&amp;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B4007B-1557-AA52-4610-70B6FD4D11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Supply Chain Manag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6455BB-12E4-2A1C-7FE6-0020CCCF0F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4832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908148-0DC7-281C-23ED-7D915229B4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38444" y="1168886"/>
            <a:ext cx="17381356" cy="1770472"/>
          </a:xfrm>
        </p:spPr>
        <p:txBody>
          <a:bodyPr/>
          <a:lstStyle/>
          <a:p>
            <a:pPr algn="l"/>
            <a:r>
              <a:rPr lang="en-GB"/>
              <a:t>Measure less. Reduce more.</a:t>
            </a:r>
            <a:endParaRPr lang="en-US"/>
          </a:p>
        </p:txBody>
      </p:sp>
      <p:pic>
        <p:nvPicPr>
          <p:cNvPr id="9" name="Picture 8" descr="A qr code &#10;&#10;">
            <a:extLst>
              <a:ext uri="{FF2B5EF4-FFF2-40B4-BE49-F238E27FC236}">
                <a16:creationId xmlns:a16="http://schemas.microsoft.com/office/drawing/2014/main" id="{71D1FAE0-A8A1-23E1-3FF4-1553C107E6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384" y="4322756"/>
            <a:ext cx="8342585" cy="834258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3A71077-8C5C-7A59-37C5-88499ADD91D2}"/>
              </a:ext>
            </a:extLst>
          </p:cNvPr>
          <p:cNvSpPr txBox="1"/>
          <p:nvPr/>
        </p:nvSpPr>
        <p:spPr>
          <a:xfrm>
            <a:off x="1338443" y="2928267"/>
            <a:ext cx="16979053" cy="16004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GB" sz="5000">
                <a:solidFill>
                  <a:srgbClr val="FFFFFF"/>
                </a:solidFill>
                <a:effectLst/>
                <a:latin typeface="Aeonik Medium" panose="020B0503030300000000" pitchFamily="34" charset="0"/>
              </a:rPr>
              <a:t>Scan the QR to talk to our </a:t>
            </a:r>
            <a:r>
              <a:rPr lang="en-GB" sz="5000">
                <a:solidFill>
                  <a:srgbClr val="FFFFFF"/>
                </a:solidFill>
                <a:latin typeface="Aeonik Medium" panose="020B0503030300000000" pitchFamily="34" charset="0"/>
              </a:rPr>
              <a:t>team or follow us on LinkedIn</a:t>
            </a:r>
            <a:endParaRPr lang="en-DE" sz="5000">
              <a:latin typeface="Aeonik Medium" panose="020B0503030300000000" pitchFamily="34" charset="0"/>
            </a:endParaRPr>
          </a:p>
          <a:p>
            <a:pPr algn="l"/>
            <a:endParaRPr lang="en-DE">
              <a:latin typeface="Aeonik Medium" panose="020B0503030300000000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C6C5B0-C658-ED5A-6847-523C087A4602}"/>
              </a:ext>
            </a:extLst>
          </p:cNvPr>
          <p:cNvSpPr txBox="1"/>
          <p:nvPr/>
        </p:nvSpPr>
        <p:spPr>
          <a:xfrm>
            <a:off x="20167600" y="12249843"/>
            <a:ext cx="2672862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b="1" err="1">
                <a:solidFill>
                  <a:schemeClr val="tx1"/>
                </a:solidFill>
                <a:latin typeface="Aeonik" panose="020B0503030300000000" pitchFamily="34" charset="0"/>
              </a:rPr>
              <a:t>thank+s</a:t>
            </a:r>
            <a:endParaRPr lang="en-US" b="1">
              <a:solidFill>
                <a:schemeClr val="tx1"/>
              </a:solidFill>
              <a:latin typeface="Aeonik" panose="020B0503030300000000" pitchFamily="34" charset="0"/>
            </a:endParaRPr>
          </a:p>
        </p:txBody>
      </p:sp>
      <p:pic>
        <p:nvPicPr>
          <p:cNvPr id="31" name="Picture 30" descr="A cell phone with a screen on&#10;&#10;AI-generated content may be incorrect.">
            <a:extLst>
              <a:ext uri="{FF2B5EF4-FFF2-40B4-BE49-F238E27FC236}">
                <a16:creationId xmlns:a16="http://schemas.microsoft.com/office/drawing/2014/main" id="{6CF6C209-4011-AE3C-B745-54B9D63D2E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200" t="6717" r="60153" b="36278"/>
          <a:stretch>
            <a:fillRect/>
          </a:stretch>
        </p:blipFill>
        <p:spPr>
          <a:xfrm>
            <a:off x="11944349" y="3938961"/>
            <a:ext cx="8223251" cy="981087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71B25937-2C01-6BEC-BE30-141BD216E0E7}"/>
              </a:ext>
            </a:extLst>
          </p:cNvPr>
          <p:cNvSpPr txBox="1"/>
          <p:nvPr/>
        </p:nvSpPr>
        <p:spPr>
          <a:xfrm>
            <a:off x="14804017" y="4113206"/>
            <a:ext cx="2503913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de-DE" sz="3200">
                <a:solidFill>
                  <a:schemeClr val="tx1"/>
                </a:solidFill>
                <a:latin typeface="Aeonik Medium" panose="020B0503030300000000" pitchFamily="34" charset="0"/>
              </a:rPr>
              <a:t>@</a:t>
            </a:r>
            <a:r>
              <a:rPr lang="de-DE" sz="3200" err="1">
                <a:solidFill>
                  <a:schemeClr val="tx1"/>
                </a:solidFill>
                <a:latin typeface="Aeonik Medium" panose="020B0503030300000000" pitchFamily="34" charset="0"/>
              </a:rPr>
              <a:t>ctrl+s</a:t>
            </a:r>
            <a:endParaRPr lang="en-DE" sz="3200">
              <a:solidFill>
                <a:schemeClr val="tx1"/>
              </a:solidFill>
              <a:latin typeface="Aeonik Medium" panose="020B05030303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688586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7461E-C5FC-243D-586D-A606D3711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079C9F6-6AD1-14AB-CCA4-BB5E0A9D99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ack-up</a:t>
            </a:r>
          </a:p>
        </p:txBody>
      </p:sp>
    </p:spTree>
    <p:extLst>
      <p:ext uri="{BB962C8B-B14F-4D97-AF65-F5344CB8AC3E}">
        <p14:creationId xmlns:p14="http://schemas.microsoft.com/office/powerpoint/2010/main" val="393226531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90444F8-5AAB-16F5-86CA-BD49E6B862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6" name="Bild" descr="Bild">
            <a:extLst>
              <a:ext uri="{FF2B5EF4-FFF2-40B4-BE49-F238E27FC236}">
                <a16:creationId xmlns:a16="http://schemas.microsoft.com/office/drawing/2014/main" id="{04E16671-1D80-266B-576E-CC2748003C2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5168" y="1269665"/>
            <a:ext cx="2635804" cy="495269"/>
          </a:xfrm>
          <a:prstGeom prst="rect">
            <a:avLst/>
          </a:prstGeom>
          <a:ln w="12700">
            <a:miter lim="400000"/>
          </a:ln>
        </p:spPr>
      </p:pic>
      <p:sp>
        <p:nvSpPr>
          <p:cNvPr id="3097" name="Offers best-in-class resolution of more than 400 industry sectors, more than 5.000 products and all 257 countries within a consistent model.">
            <a:extLst>
              <a:ext uri="{FF2B5EF4-FFF2-40B4-BE49-F238E27FC236}">
                <a16:creationId xmlns:a16="http://schemas.microsoft.com/office/drawing/2014/main" id="{0F118297-BDCA-192A-1BF9-1DBBA8DFDA62}"/>
              </a:ext>
            </a:extLst>
          </p:cNvPr>
          <p:cNvSpPr txBox="1"/>
          <p:nvPr/>
        </p:nvSpPr>
        <p:spPr>
          <a:xfrm>
            <a:off x="2272145" y="2674891"/>
            <a:ext cx="9144000" cy="102723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>
            <a:spAutoFit/>
          </a:bodyPr>
          <a:lstStyle/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timely: Suppliers receive instant feedback about their reduction performance and lead firms have immediate access to suppliers‘ results – without delay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scalable : It doesn‘t matter whether you invite 10 suppliers or 10,000 – the platform onboards, reminds and assesses for you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‘s feasible: The assessment consists of 19 questions tuned to each supplier’s specific business model – no more burden than necessary on your suppliers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’s motivating: The platform motivates your suppliers to continue reducing emissions all by themselves – instructive e-learning chapters on every value chain step fuel new reductions.</a:t>
            </a: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825417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It’s safe: We do not ask your supplier for sensitive data and take data security extremely seriously. Our servers are located in Germany and are certified (ISO27001 / SOC 2 Type II / SOC 1 Type II).</a:t>
            </a:r>
          </a:p>
        </p:txBody>
      </p:sp>
      <p:pic>
        <p:nvPicPr>
          <p:cNvPr id="3103" name="Bild" descr="Bild">
            <a:extLst>
              <a:ext uri="{FF2B5EF4-FFF2-40B4-BE49-F238E27FC236}">
                <a16:creationId xmlns:a16="http://schemas.microsoft.com/office/drawing/2014/main" id="{F23BC7F4-B531-F11C-C666-E0B15AF8B14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1424" y="1382942"/>
            <a:ext cx="3379063" cy="6349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C0A4DE2A-C37A-9F86-5D92-60FCAF796D64}"/>
              </a:ext>
            </a:extLst>
          </p:cNvPr>
          <p:cNvSpPr/>
          <p:nvPr/>
        </p:nvSpPr>
        <p:spPr>
          <a:xfrm>
            <a:off x="1345383" y="5031595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2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Abgerundetes Rechteck">
            <a:extLst>
              <a:ext uri="{FF2B5EF4-FFF2-40B4-BE49-F238E27FC236}">
                <a16:creationId xmlns:a16="http://schemas.microsoft.com/office/drawing/2014/main" id="{5CBC0B22-6F9A-CD6E-A814-88255CB57257}"/>
              </a:ext>
            </a:extLst>
          </p:cNvPr>
          <p:cNvSpPr/>
          <p:nvPr/>
        </p:nvSpPr>
        <p:spPr>
          <a:xfrm>
            <a:off x="1345383" y="6622513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3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Abgerundetes Rechteck">
            <a:extLst>
              <a:ext uri="{FF2B5EF4-FFF2-40B4-BE49-F238E27FC236}">
                <a16:creationId xmlns:a16="http://schemas.microsoft.com/office/drawing/2014/main" id="{44B8C886-DED3-3379-447E-229F466DBCE8}"/>
              </a:ext>
            </a:extLst>
          </p:cNvPr>
          <p:cNvSpPr/>
          <p:nvPr/>
        </p:nvSpPr>
        <p:spPr>
          <a:xfrm>
            <a:off x="1340886" y="8761177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4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CA076CF6-2016-1BCF-335E-45FF050817DB}"/>
              </a:ext>
            </a:extLst>
          </p:cNvPr>
          <p:cNvSpPr/>
          <p:nvPr/>
        </p:nvSpPr>
        <p:spPr>
          <a:xfrm>
            <a:off x="1336390" y="10892263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5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Abgerundetes Rechteck">
            <a:extLst>
              <a:ext uri="{FF2B5EF4-FFF2-40B4-BE49-F238E27FC236}">
                <a16:creationId xmlns:a16="http://schemas.microsoft.com/office/drawing/2014/main" id="{E668C1D3-9339-0E5D-5BFB-E9A0CAF26289}"/>
              </a:ext>
            </a:extLst>
          </p:cNvPr>
          <p:cNvSpPr/>
          <p:nvPr/>
        </p:nvSpPr>
        <p:spPr>
          <a:xfrm>
            <a:off x="1345383" y="2868043"/>
            <a:ext cx="632671" cy="632670"/>
          </a:xfrm>
          <a:prstGeom prst="roundRect">
            <a:avLst>
              <a:gd name="adj" fmla="val 9583"/>
            </a:avLst>
          </a:prstGeom>
          <a:solidFill>
            <a:srgbClr val="3C6DF5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de-DE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1</a:t>
            </a:r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354FF1-CA4B-568E-06E7-FAF3B648EA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719229" y="1692336"/>
            <a:ext cx="12764294" cy="10710731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F09795C9-874F-CE50-BD9D-8CAC5A5D6B0D}"/>
              </a:ext>
            </a:extLst>
          </p:cNvPr>
          <p:cNvSpPr/>
          <p:nvPr/>
        </p:nvSpPr>
        <p:spPr>
          <a:xfrm>
            <a:off x="13919200" y="5224094"/>
            <a:ext cx="7213600" cy="4062177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50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Update visuals</a:t>
            </a:r>
          </a:p>
        </p:txBody>
      </p:sp>
    </p:spTree>
    <p:extLst>
      <p:ext uri="{BB962C8B-B14F-4D97-AF65-F5344CB8AC3E}">
        <p14:creationId xmlns:p14="http://schemas.microsoft.com/office/powerpoint/2010/main" val="364045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9D95D9F-749A-EA27-AA04-6030FABF0E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45C1EF-A4F6-5370-3E82-150DBA580A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03FFA92-0A22-1F71-2543-E689CED6E2F0}"/>
              </a:ext>
            </a:extLst>
          </p:cNvPr>
          <p:cNvSpPr/>
          <p:nvPr/>
        </p:nvSpPr>
        <p:spPr>
          <a:xfrm rot="16200000" flipH="1" flipV="1">
            <a:off x="10359719" y="-10294493"/>
            <a:ext cx="2108063" cy="22697950"/>
          </a:xfrm>
          <a:prstGeom prst="rect">
            <a:avLst/>
          </a:prstGeom>
          <a:gradFill>
            <a:gsLst>
              <a:gs pos="6000">
                <a:schemeClr val="bg2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1444E3-BFD9-F438-F39B-E4B5A8AB9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6" y="957984"/>
            <a:ext cx="22697950" cy="1151925"/>
          </a:xfrm>
        </p:spPr>
        <p:txBody>
          <a:bodyPr/>
          <a:lstStyle/>
          <a:p>
            <a:r>
              <a:rPr lang="en-US"/>
              <a:t>DECISION MAKING: “</a:t>
            </a:r>
            <a:r>
              <a:rPr lang="en-US" err="1"/>
              <a:t>supplier+s</a:t>
            </a:r>
            <a:r>
              <a:rPr lang="en-US"/>
              <a:t>” allows companies to define their individual net zero path and buyers to make a sourcing decision</a:t>
            </a:r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35E7716-8257-2105-CED3-FD07DDA52C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174" y="2927439"/>
            <a:ext cx="17494359" cy="945641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10D052E-394F-11BE-89E1-59BD54A42B2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09009" y="3798756"/>
            <a:ext cx="4387246" cy="1179765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0616EB4F-3C7D-5C9A-55E5-8E5BBF4842C5}"/>
              </a:ext>
            </a:extLst>
          </p:cNvPr>
          <p:cNvSpPr txBox="1">
            <a:spLocks/>
          </p:cNvSpPr>
          <p:nvPr/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 marL="0" marR="0" indent="0" algn="l" defTabSz="182870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91435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1828709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2743063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3657417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4571771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5486126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640048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731483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</p:spTree>
    <p:extLst>
      <p:ext uri="{BB962C8B-B14F-4D97-AF65-F5344CB8AC3E}">
        <p14:creationId xmlns:p14="http://schemas.microsoft.com/office/powerpoint/2010/main" val="37677587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C98D7C4-7683-AADF-26CD-DF04E592FA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DBCEE0-5B8D-9B3F-8BBA-CE05AE41CD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B4A34E7-C252-974B-C95E-E1B7F9051474}"/>
              </a:ext>
            </a:extLst>
          </p:cNvPr>
          <p:cNvSpPr/>
          <p:nvPr/>
        </p:nvSpPr>
        <p:spPr>
          <a:xfrm rot="16200000" flipH="1" flipV="1">
            <a:off x="10359719" y="-10294493"/>
            <a:ext cx="2108063" cy="22697950"/>
          </a:xfrm>
          <a:prstGeom prst="rect">
            <a:avLst/>
          </a:prstGeom>
          <a:gradFill>
            <a:gsLst>
              <a:gs pos="6000">
                <a:schemeClr val="bg2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3D6F2F-F28F-D05E-7302-CFE6CD0B6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6" y="957984"/>
            <a:ext cx="22697950" cy="1151925"/>
          </a:xfrm>
        </p:spPr>
        <p:txBody>
          <a:bodyPr/>
          <a:lstStyle/>
          <a:p>
            <a:r>
              <a:rPr lang="en-US"/>
              <a:t>DECISION MAKING: “</a:t>
            </a:r>
            <a:r>
              <a:rPr lang="en-US" err="1"/>
              <a:t>supplier+s</a:t>
            </a:r>
            <a:r>
              <a:rPr lang="en-US"/>
              <a:t>” allows companies to define their individual net zero path and buyers to make a sourcing decision</a:t>
            </a:r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4125C8-BDA6-F87A-3B21-F5F540F17CB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174" y="2927439"/>
            <a:ext cx="17494359" cy="945641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A81CB2F-47D3-1D75-7245-D5A1657758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09008" y="2255821"/>
            <a:ext cx="10125031" cy="2722701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CA5F6EC-73BA-88B6-112E-9C559B66EAA5}"/>
              </a:ext>
            </a:extLst>
          </p:cNvPr>
          <p:cNvSpPr txBox="1">
            <a:spLocks/>
          </p:cNvSpPr>
          <p:nvPr/>
        </p:nvSpPr>
        <p:spPr bwMode="black">
          <a:xfrm>
            <a:off x="2118182" y="12621600"/>
            <a:ext cx="18430800" cy="10944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 marL="0" marR="0" indent="0" algn="l" defTabSz="182870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91435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1828709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2743063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3657417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4571771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5486126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6400480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7314834" algn="ctr" defTabSz="487643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</p:spTree>
    <p:extLst>
      <p:ext uri="{BB962C8B-B14F-4D97-AF65-F5344CB8AC3E}">
        <p14:creationId xmlns:p14="http://schemas.microsoft.com/office/powerpoint/2010/main" val="28329143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91306E7-CFC5-EBD5-3BB4-5FD0E4855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F59DD2-E6E8-6E37-FAAE-FC1CDFE17B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Page </a:t>
            </a:r>
            <a:fld id="{15EBE321-CBB1-4E91-BD14-37C8D44326FB}" type="slidenum"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798956C-36F2-30EF-3944-CB95019744DB}"/>
              </a:ext>
            </a:extLst>
          </p:cNvPr>
          <p:cNvSpPr/>
          <p:nvPr/>
        </p:nvSpPr>
        <p:spPr>
          <a:xfrm rot="16200000" flipH="1" flipV="1">
            <a:off x="10359719" y="-10294493"/>
            <a:ext cx="2108063" cy="22697950"/>
          </a:xfrm>
          <a:prstGeom prst="rect">
            <a:avLst/>
          </a:prstGeom>
          <a:gradFill>
            <a:gsLst>
              <a:gs pos="6000">
                <a:schemeClr val="bg2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986" tIns="143991" rIns="215986" bIns="143991" rtlCol="0" anchor="t" anchorCtr="0"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B289E-10EE-B5A2-402A-6CA919D33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46" y="957984"/>
            <a:ext cx="22752095" cy="1151925"/>
          </a:xfrm>
        </p:spPr>
        <p:txBody>
          <a:bodyPr>
            <a:normAutofit fontScale="90000"/>
          </a:bodyPr>
          <a:lstStyle/>
          <a:p>
            <a:r>
              <a:rPr lang="en-US"/>
              <a:t>NOT A SIEMENS PLATFORM ANYMORE: we transferred it to the neutral third-party provider “ctrl+s” to offer it to our “tier 2+” suppliers and other peers and make it a standard</a:t>
            </a:r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9DA929A-668B-D160-73A5-F9FD3090093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272" y="4189400"/>
            <a:ext cx="13805837" cy="7424441"/>
          </a:xfrm>
          <a:prstGeom prst="rect">
            <a:avLst/>
          </a:prstGeom>
          <a:effectLst>
            <a:outerShdw blurRad="50800" dist="76200" dir="13500000" algn="br" rotWithShape="0">
              <a:schemeClr val="accent1">
                <a:alpha val="40000"/>
              </a:schemeClr>
            </a:outerShdw>
          </a:effec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1504DE64-50B3-C0D8-247D-6F19C57E418D}"/>
              </a:ext>
            </a:extLst>
          </p:cNvPr>
          <p:cNvSpPr txBox="1"/>
          <p:nvPr/>
        </p:nvSpPr>
        <p:spPr>
          <a:xfrm>
            <a:off x="15746974" y="5109594"/>
            <a:ext cx="7802372" cy="55399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Our direct suppliers cause approx. 25% of our Scope 3 upstream emissions. Transferring the platform to a neutral provider </a:t>
            </a:r>
          </a:p>
          <a:p>
            <a:pPr marL="571471" marR="0" lvl="0" indent="-571471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Creates trust deeper in our supply chain</a:t>
            </a:r>
          </a:p>
          <a:p>
            <a:pPr marL="571471" marR="0" lvl="0" indent="-571471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Opens the platform to peers and other companies for the benefit of the climate situation</a:t>
            </a:r>
          </a:p>
          <a:p>
            <a:pPr marL="571471" marR="0" lvl="0" indent="-571471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"/>
              </a:rPr>
              <a:t>Divides the efforts</a:t>
            </a:r>
          </a:p>
        </p:txBody>
      </p:sp>
    </p:spTree>
    <p:extLst>
      <p:ext uri="{BB962C8B-B14F-4D97-AF65-F5344CB8AC3E}">
        <p14:creationId xmlns:p14="http://schemas.microsoft.com/office/powerpoint/2010/main" val="5275667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04A974B-5BFB-C738-61DE-0CBAF085BB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put Data">
            <a:extLst>
              <a:ext uri="{FF2B5EF4-FFF2-40B4-BE49-F238E27FC236}">
                <a16:creationId xmlns:a16="http://schemas.microsoft.com/office/drawing/2014/main" id="{AC2501BD-D3E2-B430-F1A3-C89716B73EFD}"/>
              </a:ext>
            </a:extLst>
          </p:cNvPr>
          <p:cNvSpPr txBox="1"/>
          <p:nvPr/>
        </p:nvSpPr>
        <p:spPr>
          <a:xfrm>
            <a:off x="4080611" y="3628556"/>
            <a:ext cx="4174282" cy="564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5" tIns="50795" rIns="50795" bIns="50795" numCol="1" anchor="ctr">
            <a:spAutoFit/>
          </a:bodyPr>
          <a:lstStyle>
            <a:lvl1pPr defTabSz="825500">
              <a:defRPr sz="3000">
                <a:solidFill>
                  <a:srgbClr val="FFFFFF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pPr marL="0" marR="0" lvl="0" indent="0" algn="ctr" defTabSz="82545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rgbClr val="3C6DF6"/>
                </a:solidFill>
                <a:effectLst/>
                <a:uLnTx/>
                <a:uFillTx/>
                <a:latin typeface="Aeonik Medium"/>
                <a:sym typeface="Aeonik Medium"/>
              </a:rPr>
              <a:t>Supplier Provides</a:t>
            </a:r>
          </a:p>
        </p:txBody>
      </p:sp>
      <p:grpSp>
        <p:nvGrpSpPr>
          <p:cNvPr id="24" name="Gruppieren">
            <a:extLst>
              <a:ext uri="{FF2B5EF4-FFF2-40B4-BE49-F238E27FC236}">
                <a16:creationId xmlns:a16="http://schemas.microsoft.com/office/drawing/2014/main" id="{E7BAE3AD-E2DC-3F5B-A5C8-64491BD4D237}"/>
              </a:ext>
            </a:extLst>
          </p:cNvPr>
          <p:cNvGrpSpPr/>
          <p:nvPr/>
        </p:nvGrpSpPr>
        <p:grpSpPr>
          <a:xfrm>
            <a:off x="4462413" y="4468540"/>
            <a:ext cx="3240000" cy="1440000"/>
            <a:chOff x="0" y="-38386"/>
            <a:chExt cx="2762663" cy="1287969"/>
          </a:xfrm>
          <a:solidFill>
            <a:schemeClr val="tx1"/>
          </a:solidFill>
        </p:grpSpPr>
        <p:sp>
          <p:nvSpPr>
            <p:cNvPr id="25" name="Abgerundetes Rechteck">
              <a:extLst>
                <a:ext uri="{FF2B5EF4-FFF2-40B4-BE49-F238E27FC236}">
                  <a16:creationId xmlns:a16="http://schemas.microsoft.com/office/drawing/2014/main" id="{FFC12405-3BBA-2D05-76D1-FEFB122215B2}"/>
                </a:ext>
              </a:extLst>
            </p:cNvPr>
            <p:cNvSpPr/>
            <p:nvPr/>
          </p:nvSpPr>
          <p:spPr>
            <a:xfrm rot="16200000">
              <a:off x="737347" y="-775733"/>
              <a:ext cx="1287969" cy="2762663"/>
            </a:xfrm>
            <a:prstGeom prst="roundRect">
              <a:avLst>
                <a:gd name="adj" fmla="val 9544"/>
              </a:avLst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50795" tIns="50795" rIns="50795" bIns="50795" numCol="1" anchor="ctr">
              <a:noAutofit/>
            </a:bodyPr>
            <a:lstStyle/>
            <a:p>
              <a:pPr marL="0" marR="0" lvl="0" indent="0" algn="ctr" defTabSz="825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1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6" name="Input Data">
              <a:extLst>
                <a:ext uri="{FF2B5EF4-FFF2-40B4-BE49-F238E27FC236}">
                  <a16:creationId xmlns:a16="http://schemas.microsoft.com/office/drawing/2014/main" id="{896B4029-DF46-D088-A1E8-745ECA1647E5}"/>
                </a:ext>
              </a:extLst>
            </p:cNvPr>
            <p:cNvSpPr txBox="1"/>
            <p:nvPr/>
          </p:nvSpPr>
          <p:spPr>
            <a:xfrm>
              <a:off x="155506" y="234735"/>
              <a:ext cx="2430913" cy="779957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795" tIns="50795" rIns="50795" bIns="50795" numCol="1" anchor="ctr">
              <a:spAutoFit/>
            </a:bodyPr>
            <a:lstStyle>
              <a:lvl1pPr defTabSz="825500">
                <a:defRPr sz="3000">
                  <a:solidFill>
                    <a:srgbClr val="FFFFFF"/>
                  </a:solidFill>
                  <a:latin typeface="Aeonik Medium"/>
                  <a:ea typeface="Aeonik Medium"/>
                  <a:cs typeface="Aeonik Medium"/>
                  <a:sym typeface="Aeonik Medium"/>
                </a:defRPr>
              </a:lvl1pPr>
            </a:lstStyle>
            <a:p>
              <a:pPr marL="0" marR="0" lvl="0" indent="0" algn="ctr" defTabSz="82545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eonik Fono" panose="020B0504030300000000" pitchFamily="34" charset="0"/>
                  <a:sym typeface="Aeonik Medium"/>
                </a:rPr>
                <a:t>Degree of implementation</a:t>
              </a:r>
            </a:p>
          </p:txBody>
        </p:sp>
      </p:grpSp>
      <p:sp>
        <p:nvSpPr>
          <p:cNvPr id="27" name="Textfeld 8">
            <a:extLst>
              <a:ext uri="{FF2B5EF4-FFF2-40B4-BE49-F238E27FC236}">
                <a16:creationId xmlns:a16="http://schemas.microsoft.com/office/drawing/2014/main" id="{FFBC7912-EF4E-69DF-120D-28528D604919}"/>
              </a:ext>
            </a:extLst>
          </p:cNvPr>
          <p:cNvSpPr txBox="1"/>
          <p:nvPr/>
        </p:nvSpPr>
        <p:spPr>
          <a:xfrm>
            <a:off x="4153627" y="6479890"/>
            <a:ext cx="3857573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To which </a:t>
            </a: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degree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 is a certain </a:t>
            </a: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measure implemented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?</a:t>
            </a:r>
          </a:p>
        </p:txBody>
      </p:sp>
      <p:sp>
        <p:nvSpPr>
          <p:cNvPr id="28" name="Textfeld 9">
            <a:extLst>
              <a:ext uri="{FF2B5EF4-FFF2-40B4-BE49-F238E27FC236}">
                <a16:creationId xmlns:a16="http://schemas.microsoft.com/office/drawing/2014/main" id="{21E3A6E1-835A-7B3A-D0F1-84A55A2F5482}"/>
              </a:ext>
            </a:extLst>
          </p:cNvPr>
          <p:cNvSpPr txBox="1"/>
          <p:nvPr/>
        </p:nvSpPr>
        <p:spPr>
          <a:xfrm>
            <a:off x="4424299" y="8852214"/>
            <a:ext cx="331622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Data from supplier questionnaire</a:t>
            </a:r>
          </a:p>
        </p:txBody>
      </p:sp>
      <p:sp>
        <p:nvSpPr>
          <p:cNvPr id="34" name="Textfeld 10">
            <a:extLst>
              <a:ext uri="{FF2B5EF4-FFF2-40B4-BE49-F238E27FC236}">
                <a16:creationId xmlns:a16="http://schemas.microsoft.com/office/drawing/2014/main" id="{1519EEB3-F641-839E-6EF6-E9F5CE4B8A2E}"/>
              </a:ext>
            </a:extLst>
          </p:cNvPr>
          <p:cNvSpPr txBox="1"/>
          <p:nvPr/>
        </p:nvSpPr>
        <p:spPr>
          <a:xfrm>
            <a:off x="9007767" y="6480992"/>
            <a:ext cx="359934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How </a:t>
            </a: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effectively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 does the </a:t>
            </a: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measure reduce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 the addressed emission type?</a:t>
            </a:r>
          </a:p>
        </p:txBody>
      </p:sp>
      <p:sp>
        <p:nvSpPr>
          <p:cNvPr id="35" name="Textfeld 11">
            <a:extLst>
              <a:ext uri="{FF2B5EF4-FFF2-40B4-BE49-F238E27FC236}">
                <a16:creationId xmlns:a16="http://schemas.microsoft.com/office/drawing/2014/main" id="{0BD58EC0-2CD7-957E-E8C6-9B59FF68D4E3}"/>
              </a:ext>
            </a:extLst>
          </p:cNvPr>
          <p:cNvSpPr txBox="1"/>
          <p:nvPr/>
        </p:nvSpPr>
        <p:spPr>
          <a:xfrm>
            <a:off x="9198504" y="8864564"/>
            <a:ext cx="321786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spcAft>
                <a:spcPts val="600"/>
              </a:spcAft>
              <a:defRPr sz="800">
                <a:cs typeface="Fago Offc Pro"/>
              </a:defRPr>
            </a:lvl1pPr>
          </a:lstStyle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sym typeface="Helvetica Neue"/>
              </a:rPr>
              <a:t>Data from scientific publications, studies, and expert judgement</a:t>
            </a:r>
          </a:p>
        </p:txBody>
      </p:sp>
      <p:sp>
        <p:nvSpPr>
          <p:cNvPr id="38" name="Input Data">
            <a:extLst>
              <a:ext uri="{FF2B5EF4-FFF2-40B4-BE49-F238E27FC236}">
                <a16:creationId xmlns:a16="http://schemas.microsoft.com/office/drawing/2014/main" id="{2D3CB192-DFB7-C6C2-DFB5-F3BCCEF188FE}"/>
              </a:ext>
            </a:extLst>
          </p:cNvPr>
          <p:cNvSpPr txBox="1"/>
          <p:nvPr/>
        </p:nvSpPr>
        <p:spPr>
          <a:xfrm>
            <a:off x="10807439" y="3623267"/>
            <a:ext cx="4174282" cy="564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5" tIns="50795" rIns="50795" bIns="50795" numCol="1" anchor="ctr">
            <a:spAutoFit/>
          </a:bodyPr>
          <a:lstStyle>
            <a:lvl1pPr defTabSz="825500">
              <a:defRPr sz="3000">
                <a:solidFill>
                  <a:srgbClr val="FFFFFF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pPr marL="0" marR="0" lvl="0" indent="0" algn="ctr" defTabSz="82545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rgbClr val="3C6DF6"/>
                </a:solidFill>
                <a:effectLst/>
                <a:uLnTx/>
                <a:uFillTx/>
                <a:latin typeface="Aeonik Medium"/>
                <a:sym typeface="Aeonik Medium"/>
              </a:rPr>
              <a:t>Platform Provides</a:t>
            </a:r>
          </a:p>
        </p:txBody>
      </p:sp>
      <p:grpSp>
        <p:nvGrpSpPr>
          <p:cNvPr id="39" name="Gruppieren">
            <a:extLst>
              <a:ext uri="{FF2B5EF4-FFF2-40B4-BE49-F238E27FC236}">
                <a16:creationId xmlns:a16="http://schemas.microsoft.com/office/drawing/2014/main" id="{3D7A70A8-45E3-D6B6-1DC3-84AFA87BCE98}"/>
              </a:ext>
            </a:extLst>
          </p:cNvPr>
          <p:cNvGrpSpPr/>
          <p:nvPr/>
        </p:nvGrpSpPr>
        <p:grpSpPr>
          <a:xfrm>
            <a:off x="13354041" y="4468540"/>
            <a:ext cx="3240000" cy="1440000"/>
            <a:chOff x="-1096378" y="-265123"/>
            <a:chExt cx="3122804" cy="1946898"/>
          </a:xfrm>
          <a:solidFill>
            <a:schemeClr val="tx1"/>
          </a:solidFill>
        </p:grpSpPr>
        <p:sp>
          <p:nvSpPr>
            <p:cNvPr id="40" name="Abgerundetes Rechteck">
              <a:extLst>
                <a:ext uri="{FF2B5EF4-FFF2-40B4-BE49-F238E27FC236}">
                  <a16:creationId xmlns:a16="http://schemas.microsoft.com/office/drawing/2014/main" id="{5ECECAA8-9019-AE4A-12FD-993A275D2545}"/>
                </a:ext>
              </a:extLst>
            </p:cNvPr>
            <p:cNvSpPr/>
            <p:nvPr/>
          </p:nvSpPr>
          <p:spPr>
            <a:xfrm rot="16200000">
              <a:off x="-508425" y="-853076"/>
              <a:ext cx="1946898" cy="3122804"/>
            </a:xfrm>
            <a:prstGeom prst="roundRect">
              <a:avLst>
                <a:gd name="adj" fmla="val 9544"/>
              </a:avLst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50795" tIns="50795" rIns="50795" bIns="50795" numCol="1" anchor="ctr">
              <a:noAutofit/>
            </a:bodyPr>
            <a:lstStyle/>
            <a:p>
              <a:pPr marL="0" marR="0" lvl="0" indent="0" algn="ctr" defTabSz="825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1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1" name="Input Data">
              <a:extLst>
                <a:ext uri="{FF2B5EF4-FFF2-40B4-BE49-F238E27FC236}">
                  <a16:creationId xmlns:a16="http://schemas.microsoft.com/office/drawing/2014/main" id="{FD354DC9-4EE7-7BD5-6DB8-91F87174F5FC}"/>
                </a:ext>
              </a:extLst>
            </p:cNvPr>
            <p:cNvSpPr txBox="1"/>
            <p:nvPr/>
          </p:nvSpPr>
          <p:spPr>
            <a:xfrm>
              <a:off x="-643356" y="378905"/>
              <a:ext cx="2216760" cy="65884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795" tIns="50795" rIns="50795" bIns="50795" numCol="1" anchor="ctr">
              <a:spAutoFit/>
            </a:bodyPr>
            <a:lstStyle>
              <a:lvl1pPr defTabSz="825500">
                <a:defRPr sz="3000">
                  <a:solidFill>
                    <a:srgbClr val="FFFFFF"/>
                  </a:solidFill>
                  <a:latin typeface="Aeonik Medium"/>
                  <a:ea typeface="Aeonik Medium"/>
                  <a:cs typeface="Aeonik Medium"/>
                  <a:sym typeface="Aeonik Medium"/>
                </a:defRPr>
              </a:lvl1pPr>
            </a:lstStyle>
            <a:p>
              <a:pPr marL="0" marR="0" lvl="0" indent="0" algn="ctr" defTabSz="82545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eonik Fono" panose="020B0504030300000000" pitchFamily="34" charset="0"/>
                  <a:sym typeface="Aeonik Medium"/>
                </a:rPr>
                <a:t>Weight</a:t>
              </a:r>
            </a:p>
          </p:txBody>
        </p:sp>
      </p:grpSp>
      <p:sp>
        <p:nvSpPr>
          <p:cNvPr id="42" name="Textfeld 12">
            <a:extLst>
              <a:ext uri="{FF2B5EF4-FFF2-40B4-BE49-F238E27FC236}">
                <a16:creationId xmlns:a16="http://schemas.microsoft.com/office/drawing/2014/main" id="{8A9B9E5D-F399-7F3A-07E3-1E38B058C20F}"/>
              </a:ext>
            </a:extLst>
          </p:cNvPr>
          <p:cNvSpPr txBox="1"/>
          <p:nvPr/>
        </p:nvSpPr>
        <p:spPr>
          <a:xfrm>
            <a:off x="13174857" y="6479890"/>
            <a:ext cx="3598368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How </a:t>
            </a: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relevant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 is the </a:t>
            </a: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emission type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addressed by the measure</a:t>
            </a: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for a company like this?</a:t>
            </a:r>
          </a:p>
        </p:txBody>
      </p:sp>
      <p:sp>
        <p:nvSpPr>
          <p:cNvPr id="43" name="Textfeld 13">
            <a:extLst>
              <a:ext uri="{FF2B5EF4-FFF2-40B4-BE49-F238E27FC236}">
                <a16:creationId xmlns:a16="http://schemas.microsoft.com/office/drawing/2014/main" id="{5D71CE38-6456-90F0-7D58-ABDC5A5CB523}"/>
              </a:ext>
            </a:extLst>
          </p:cNvPr>
          <p:cNvSpPr txBox="1"/>
          <p:nvPr/>
        </p:nvSpPr>
        <p:spPr>
          <a:xfrm>
            <a:off x="13174857" y="8863149"/>
            <a:ext cx="359836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spcAft>
                <a:spcPts val="600"/>
              </a:spcAft>
              <a:defRPr sz="800">
                <a:cs typeface="Fago Offc Pro"/>
              </a:defRPr>
            </a:lvl1pPr>
          </a:lstStyle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sym typeface="Helvetica Neue"/>
              </a:rPr>
              <a:t>Data from the input-output model, scientific publications, and studies</a:t>
            </a:r>
          </a:p>
        </p:txBody>
      </p:sp>
      <p:grpSp>
        <p:nvGrpSpPr>
          <p:cNvPr id="48" name="Gruppieren">
            <a:extLst>
              <a:ext uri="{FF2B5EF4-FFF2-40B4-BE49-F238E27FC236}">
                <a16:creationId xmlns:a16="http://schemas.microsoft.com/office/drawing/2014/main" id="{A6E5E81F-DAE2-2D51-4CBB-881A62959A6A}"/>
              </a:ext>
            </a:extLst>
          </p:cNvPr>
          <p:cNvGrpSpPr/>
          <p:nvPr/>
        </p:nvGrpSpPr>
        <p:grpSpPr>
          <a:xfrm>
            <a:off x="17766254" y="4468540"/>
            <a:ext cx="3240000" cy="1440000"/>
            <a:chOff x="1" y="-697319"/>
            <a:chExt cx="3122804" cy="1946898"/>
          </a:xfrm>
          <a:solidFill>
            <a:schemeClr val="tx1"/>
          </a:solidFill>
        </p:grpSpPr>
        <p:sp>
          <p:nvSpPr>
            <p:cNvPr id="49" name="Abgerundetes Rechteck">
              <a:extLst>
                <a:ext uri="{FF2B5EF4-FFF2-40B4-BE49-F238E27FC236}">
                  <a16:creationId xmlns:a16="http://schemas.microsoft.com/office/drawing/2014/main" id="{BC056C55-850C-31C1-88C6-01F19A8A79C4}"/>
                </a:ext>
              </a:extLst>
            </p:cNvPr>
            <p:cNvSpPr/>
            <p:nvPr/>
          </p:nvSpPr>
          <p:spPr>
            <a:xfrm rot="16200000">
              <a:off x="587954" y="-1285272"/>
              <a:ext cx="1946898" cy="3122804"/>
            </a:xfrm>
            <a:prstGeom prst="roundRect">
              <a:avLst>
                <a:gd name="adj" fmla="val 9544"/>
              </a:avLst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50795" tIns="50795" rIns="50795" bIns="50795" numCol="1" anchor="ctr">
              <a:noAutofit/>
            </a:bodyPr>
            <a:lstStyle/>
            <a:p>
              <a:pPr marL="0" marR="0" lvl="0" indent="0" algn="ctr" defTabSz="825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1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0" name="Input Data">
              <a:extLst>
                <a:ext uri="{FF2B5EF4-FFF2-40B4-BE49-F238E27FC236}">
                  <a16:creationId xmlns:a16="http://schemas.microsoft.com/office/drawing/2014/main" id="{6A3565F8-55FC-7BAE-EC7C-5C4ADE97A973}"/>
                </a:ext>
              </a:extLst>
            </p:cNvPr>
            <p:cNvSpPr txBox="1"/>
            <p:nvPr/>
          </p:nvSpPr>
          <p:spPr>
            <a:xfrm>
              <a:off x="378951" y="-296942"/>
              <a:ext cx="2577908" cy="117898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795" tIns="50795" rIns="50795" bIns="50795" numCol="1" anchor="ctr">
              <a:spAutoFit/>
            </a:bodyPr>
            <a:lstStyle>
              <a:lvl1pPr defTabSz="825500">
                <a:defRPr sz="3000">
                  <a:solidFill>
                    <a:srgbClr val="FFFFFF"/>
                  </a:solidFill>
                  <a:latin typeface="Aeonik Medium"/>
                  <a:ea typeface="Aeonik Medium"/>
                  <a:cs typeface="Aeonik Medium"/>
                  <a:sym typeface="Aeonik Medium"/>
                </a:defRPr>
              </a:lvl1pPr>
            </a:lstStyle>
            <a:p>
              <a:pPr marL="0" marR="0" lvl="0" indent="0" algn="ctr" defTabSz="82545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eonik Fono" panose="020B0504030300000000" pitchFamily="34" charset="0"/>
                  <a:sym typeface="Aeonik Medium"/>
                </a:rPr>
                <a:t>Effective Reduction</a:t>
              </a:r>
            </a:p>
          </p:txBody>
        </p:sp>
      </p:grpSp>
      <p:sp>
        <p:nvSpPr>
          <p:cNvPr id="51" name="Textfeld 15">
            <a:extLst>
              <a:ext uri="{FF2B5EF4-FFF2-40B4-BE49-F238E27FC236}">
                <a16:creationId xmlns:a16="http://schemas.microsoft.com/office/drawing/2014/main" id="{D31421EC-35DF-86EE-B404-48A8625B8FED}"/>
              </a:ext>
            </a:extLst>
          </p:cNvPr>
          <p:cNvSpPr txBox="1"/>
          <p:nvPr/>
        </p:nvSpPr>
        <p:spPr>
          <a:xfrm>
            <a:off x="17438789" y="8863147"/>
            <a:ext cx="389493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Calculation result</a:t>
            </a:r>
          </a:p>
        </p:txBody>
      </p:sp>
      <p:sp>
        <p:nvSpPr>
          <p:cNvPr id="52" name="Textfeld 25">
            <a:extLst>
              <a:ext uri="{FF2B5EF4-FFF2-40B4-BE49-F238E27FC236}">
                <a16:creationId xmlns:a16="http://schemas.microsoft.com/office/drawing/2014/main" id="{856BB530-7936-203F-CA01-BBE235E815BD}"/>
              </a:ext>
            </a:extLst>
          </p:cNvPr>
          <p:cNvSpPr txBox="1"/>
          <p:nvPr/>
        </p:nvSpPr>
        <p:spPr>
          <a:xfrm>
            <a:off x="17551794" y="6310623"/>
            <a:ext cx="3668921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How much of the company’s total impact does the measure save? </a:t>
            </a:r>
          </a:p>
        </p:txBody>
      </p:sp>
      <p:sp>
        <p:nvSpPr>
          <p:cNvPr id="55" name="Abgerundetes Rechteck">
            <a:extLst>
              <a:ext uri="{FF2B5EF4-FFF2-40B4-BE49-F238E27FC236}">
                <a16:creationId xmlns:a16="http://schemas.microsoft.com/office/drawing/2014/main" id="{26235051-2668-830B-F261-88398BD7AF46}"/>
              </a:ext>
            </a:extLst>
          </p:cNvPr>
          <p:cNvSpPr/>
          <p:nvPr/>
        </p:nvSpPr>
        <p:spPr>
          <a:xfrm>
            <a:off x="8317400" y="5017985"/>
            <a:ext cx="358997" cy="341110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0" tIns="0" rIns="0" bIns="71991" numCol="1" anchor="ctr">
            <a:noAutofit/>
          </a:bodyPr>
          <a:lstStyle/>
          <a:p>
            <a:pPr marL="0" marR="0" lvl="0" indent="0" algn="ctr" defTabSz="825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x</a:t>
            </a:r>
          </a:p>
        </p:txBody>
      </p:sp>
      <p:sp>
        <p:nvSpPr>
          <p:cNvPr id="56" name="Abgerundetes Rechteck">
            <a:extLst>
              <a:ext uri="{FF2B5EF4-FFF2-40B4-BE49-F238E27FC236}">
                <a16:creationId xmlns:a16="http://schemas.microsoft.com/office/drawing/2014/main" id="{5670C8FD-86F2-3E2A-3CA9-7B39734230FE}"/>
              </a:ext>
            </a:extLst>
          </p:cNvPr>
          <p:cNvSpPr/>
          <p:nvPr/>
        </p:nvSpPr>
        <p:spPr>
          <a:xfrm>
            <a:off x="12851895" y="5017985"/>
            <a:ext cx="358997" cy="341110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0" tIns="0" rIns="0" bIns="71991" numCol="1" anchor="ctr">
            <a:noAutofit/>
          </a:bodyPr>
          <a:lstStyle/>
          <a:p>
            <a:pPr marL="0" marR="0" lvl="0" indent="0" algn="ctr" defTabSz="825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x</a:t>
            </a:r>
          </a:p>
        </p:txBody>
      </p:sp>
      <p:sp>
        <p:nvSpPr>
          <p:cNvPr id="59" name="Abgerundetes Rechteck">
            <a:extLst>
              <a:ext uri="{FF2B5EF4-FFF2-40B4-BE49-F238E27FC236}">
                <a16:creationId xmlns:a16="http://schemas.microsoft.com/office/drawing/2014/main" id="{E0BE0462-0C4F-AEAA-A2EF-CF2E74443351}"/>
              </a:ext>
            </a:extLst>
          </p:cNvPr>
          <p:cNvSpPr/>
          <p:nvPr/>
        </p:nvSpPr>
        <p:spPr>
          <a:xfrm>
            <a:off x="16952458" y="5017551"/>
            <a:ext cx="359977" cy="341978"/>
          </a:xfrm>
          <a:prstGeom prst="roundRect">
            <a:avLst>
              <a:gd name="adj" fmla="val 9583"/>
            </a:avLst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none" lIns="0" tIns="0" rIns="0" bIns="71991" numCol="1" anchor="ctr">
            <a:noAutofit/>
          </a:bodyPr>
          <a:lstStyle/>
          <a:p>
            <a:pPr marL="0" marR="0" lvl="0" indent="0" algn="ctr" defTabSz="825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=</a:t>
            </a:r>
          </a:p>
        </p:txBody>
      </p:sp>
      <p:sp>
        <p:nvSpPr>
          <p:cNvPr id="60" name="Textfeld 5">
            <a:extLst>
              <a:ext uri="{FF2B5EF4-FFF2-40B4-BE49-F238E27FC236}">
                <a16:creationId xmlns:a16="http://schemas.microsoft.com/office/drawing/2014/main" id="{CBE9F687-A80B-4BD1-D26A-2C2418BAB162}"/>
              </a:ext>
            </a:extLst>
          </p:cNvPr>
          <p:cNvSpPr txBox="1"/>
          <p:nvPr/>
        </p:nvSpPr>
        <p:spPr>
          <a:xfrm>
            <a:off x="4175233" y="11315109"/>
            <a:ext cx="1710532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43821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Fago Offc Pro"/>
                <a:sym typeface="Helvetica Neue"/>
              </a:rPr>
              <a:t>Due to the reliance on standardized, scientifically derived model parameters, the information – and hence effort – required from suppliers is reduced to a minimum.</a:t>
            </a:r>
          </a:p>
        </p:txBody>
      </p:sp>
      <p:grpSp>
        <p:nvGrpSpPr>
          <p:cNvPr id="3" name="Gruppieren">
            <a:extLst>
              <a:ext uri="{FF2B5EF4-FFF2-40B4-BE49-F238E27FC236}">
                <a16:creationId xmlns:a16="http://schemas.microsoft.com/office/drawing/2014/main" id="{023A057F-1460-7045-5D04-080B013FF5D9}"/>
              </a:ext>
            </a:extLst>
          </p:cNvPr>
          <p:cNvGrpSpPr/>
          <p:nvPr/>
        </p:nvGrpSpPr>
        <p:grpSpPr>
          <a:xfrm>
            <a:off x="9187438" y="4468540"/>
            <a:ext cx="3240000" cy="1440000"/>
            <a:chOff x="-1297524" y="-168237"/>
            <a:chExt cx="3122804" cy="1946897"/>
          </a:xfrm>
          <a:solidFill>
            <a:schemeClr val="tx1"/>
          </a:solidFill>
        </p:grpSpPr>
        <p:sp>
          <p:nvSpPr>
            <p:cNvPr id="4" name="Abgerundetes Rechteck">
              <a:extLst>
                <a:ext uri="{FF2B5EF4-FFF2-40B4-BE49-F238E27FC236}">
                  <a16:creationId xmlns:a16="http://schemas.microsoft.com/office/drawing/2014/main" id="{43178F99-687E-B8D7-8952-38F77CDA9E2E}"/>
                </a:ext>
              </a:extLst>
            </p:cNvPr>
            <p:cNvSpPr/>
            <p:nvPr/>
          </p:nvSpPr>
          <p:spPr>
            <a:xfrm rot="16200000">
              <a:off x="-709571" y="-756190"/>
              <a:ext cx="1946897" cy="3122804"/>
            </a:xfrm>
            <a:prstGeom prst="roundRect">
              <a:avLst>
                <a:gd name="adj" fmla="val 9544"/>
              </a:avLst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50795" tIns="50795" rIns="50795" bIns="50795" numCol="1" anchor="ctr">
              <a:noAutofit/>
            </a:bodyPr>
            <a:lstStyle/>
            <a:p>
              <a:pPr marL="0" marR="0" lvl="0" indent="0" algn="ctr" defTabSz="825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1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" name="Input Data">
              <a:extLst>
                <a:ext uri="{FF2B5EF4-FFF2-40B4-BE49-F238E27FC236}">
                  <a16:creationId xmlns:a16="http://schemas.microsoft.com/office/drawing/2014/main" id="{A5C32A18-7BFC-7B05-FE25-F19FCD8E7411}"/>
                </a:ext>
              </a:extLst>
            </p:cNvPr>
            <p:cNvSpPr txBox="1"/>
            <p:nvPr/>
          </p:nvSpPr>
          <p:spPr>
            <a:xfrm>
              <a:off x="-844502" y="215719"/>
              <a:ext cx="2216760" cy="1178985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795" tIns="50795" rIns="50795" bIns="50795" numCol="1" anchor="ctr">
              <a:spAutoFit/>
            </a:bodyPr>
            <a:lstStyle>
              <a:lvl1pPr defTabSz="825500">
                <a:defRPr sz="3000">
                  <a:solidFill>
                    <a:srgbClr val="FFFFFF"/>
                  </a:solidFill>
                  <a:latin typeface="Aeonik Medium"/>
                  <a:ea typeface="Aeonik Medium"/>
                  <a:cs typeface="Aeonik Medium"/>
                  <a:sym typeface="Aeonik Medium"/>
                </a:defRPr>
              </a:lvl1pPr>
            </a:lstStyle>
            <a:p>
              <a:pPr marL="0" marR="0" lvl="0" indent="0" algn="ctr" defTabSz="82545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eonik Fono" panose="020B0504030300000000" pitchFamily="34" charset="0"/>
                  <a:sym typeface="Aeonik Medium"/>
                </a:rPr>
                <a:t>Reduction potential</a:t>
              </a:r>
            </a:p>
          </p:txBody>
        </p:sp>
      </p:grpSp>
      <p:sp>
        <p:nvSpPr>
          <p:cNvPr id="7" name="Text">
            <a:extLst>
              <a:ext uri="{FF2B5EF4-FFF2-40B4-BE49-F238E27FC236}">
                <a16:creationId xmlns:a16="http://schemas.microsoft.com/office/drawing/2014/main" id="{CDA7BE5E-82C7-7CA6-B9F8-501B288D9461}"/>
              </a:ext>
            </a:extLst>
          </p:cNvPr>
          <p:cNvSpPr txBox="1"/>
          <p:nvPr/>
        </p:nvSpPr>
        <p:spPr>
          <a:xfrm>
            <a:off x="23169104" y="12625582"/>
            <a:ext cx="633221" cy="333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pPr marL="0" marR="0" lvl="0" indent="0" algn="ctr" defTabSz="243827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Regular"/>
                <a:sym typeface="Aeonik Regular"/>
              </a:rPr>
              <a:pPr marL="0" marR="0" lvl="0" indent="0" algn="ctr" defTabSz="243827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eonik Regular"/>
              <a:sym typeface="Aeonik Regular"/>
            </a:endParaRPr>
          </a:p>
        </p:txBody>
      </p:sp>
      <p:sp>
        <p:nvSpPr>
          <p:cNvPr id="8" name="Abgerundetes Rechteck">
            <a:extLst>
              <a:ext uri="{FF2B5EF4-FFF2-40B4-BE49-F238E27FC236}">
                <a16:creationId xmlns:a16="http://schemas.microsoft.com/office/drawing/2014/main" id="{C31A8BF8-C5D5-C766-EFC2-57D9867404C8}"/>
              </a:ext>
            </a:extLst>
          </p:cNvPr>
          <p:cNvSpPr/>
          <p:nvPr/>
        </p:nvSpPr>
        <p:spPr>
          <a:xfrm>
            <a:off x="23169104" y="12469332"/>
            <a:ext cx="633221" cy="633221"/>
          </a:xfrm>
          <a:prstGeom prst="roundRect">
            <a:avLst>
              <a:gd name="adj" fmla="val 9583"/>
            </a:avLst>
          </a:prstGeom>
          <a:solidFill>
            <a:srgbClr val="3C6DF6"/>
          </a:solidFill>
          <a:ln w="12700">
            <a:miter lim="400000"/>
          </a:ln>
        </p:spPr>
        <p:txBody>
          <a:bodyPr lIns="50795" tIns="50795" rIns="50795" bIns="50795" anchor="ctr"/>
          <a:lstStyle/>
          <a:p>
            <a:pPr marL="0" marR="0" lvl="0" indent="0" algn="ctr" defTabSz="825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7B3F67B8-2B04-C0A4-FE28-894DC998906E}"/>
              </a:ext>
            </a:extLst>
          </p:cNvPr>
          <p:cNvSpPr txBox="1"/>
          <p:nvPr/>
        </p:nvSpPr>
        <p:spPr>
          <a:xfrm>
            <a:off x="23169104" y="12548640"/>
            <a:ext cx="633221" cy="487303"/>
          </a:xfrm>
          <a:prstGeom prst="rect">
            <a:avLst/>
          </a:prstGeom>
          <a:solidFill>
            <a:srgbClr val="3C6DF6"/>
          </a:solidFill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pPr marL="0" marR="0" lvl="0" indent="0" algn="ctr" defTabSz="243827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Regular"/>
                <a:sym typeface="Aeonik Regular"/>
              </a:rPr>
              <a:pPr marL="0" marR="0" lvl="0" indent="0" algn="ctr" defTabSz="243827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Regular"/>
              <a:sym typeface="Aeonik Regular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102777-C292-4873-F2B8-BA71FF8139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In the background, supplier+s evaluates suppliers’ survey responses via two parameters – reduction potential &amp; weight.</a:t>
            </a:r>
          </a:p>
        </p:txBody>
      </p:sp>
    </p:spTree>
    <p:extLst>
      <p:ext uri="{BB962C8B-B14F-4D97-AF65-F5344CB8AC3E}">
        <p14:creationId xmlns:p14="http://schemas.microsoft.com/office/powerpoint/2010/main" val="258493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A2F86-B48C-3BA8-42B5-9B7B4C623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1" name="Rechteck">
            <a:extLst>
              <a:ext uri="{FF2B5EF4-FFF2-40B4-BE49-F238E27FC236}">
                <a16:creationId xmlns:a16="http://schemas.microsoft.com/office/drawing/2014/main" id="{7B8B33CD-2768-24CE-DCFB-0425DC9AD2E0}"/>
              </a:ext>
            </a:extLst>
          </p:cNvPr>
          <p:cNvSpPr/>
          <p:nvPr/>
        </p:nvSpPr>
        <p:spPr>
          <a:xfrm>
            <a:off x="9547038" y="7414"/>
            <a:ext cx="14835375" cy="13715107"/>
          </a:xfrm>
          <a:prstGeom prst="rect">
            <a:avLst/>
          </a:prstGeom>
          <a:solidFill>
            <a:srgbClr val="3C6DF5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122" name="Logo_Bayer.png" descr="Logo_Bayer.png">
            <a:extLst>
              <a:ext uri="{FF2B5EF4-FFF2-40B4-BE49-F238E27FC236}">
                <a16:creationId xmlns:a16="http://schemas.microsoft.com/office/drawing/2014/main" id="{A0AF96BA-348C-DD95-73D3-47FD7A6E297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18154" y="2081771"/>
            <a:ext cx="1194714" cy="1194715"/>
          </a:xfrm>
          <a:prstGeom prst="rect">
            <a:avLst/>
          </a:prstGeom>
          <a:ln w="12700">
            <a:miter lim="400000"/>
          </a:ln>
        </p:spPr>
      </p:pic>
      <p:pic>
        <p:nvPicPr>
          <p:cNvPr id="3123" name="Logo_Bosch.png" descr="Logo_Bosch.png">
            <a:extLst>
              <a:ext uri="{FF2B5EF4-FFF2-40B4-BE49-F238E27FC236}">
                <a16:creationId xmlns:a16="http://schemas.microsoft.com/office/drawing/2014/main" id="{7E415295-745E-1C9A-2729-FB3DEFEA1CB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33833" y="2528423"/>
            <a:ext cx="2660466" cy="594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124" name="Logo_Capgemini.png" descr="Logo_Capgemini.png">
            <a:extLst>
              <a:ext uri="{FF2B5EF4-FFF2-40B4-BE49-F238E27FC236}">
                <a16:creationId xmlns:a16="http://schemas.microsoft.com/office/drawing/2014/main" id="{300CC6EF-03DA-71EA-5BB1-27B4F8364A7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41138" y="6719886"/>
            <a:ext cx="3028600" cy="676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3125" name="Logo_Ernst_&amp;_Young.png" descr="Logo_Ernst_&amp;_Young.png">
            <a:extLst>
              <a:ext uri="{FF2B5EF4-FFF2-40B4-BE49-F238E27FC236}">
                <a16:creationId xmlns:a16="http://schemas.microsoft.com/office/drawing/2014/main" id="{3EA6C595-43A5-F452-2B61-8D316960A3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8813" y="6470178"/>
            <a:ext cx="1293391" cy="1079608"/>
          </a:xfrm>
          <a:prstGeom prst="rect">
            <a:avLst/>
          </a:prstGeom>
          <a:ln w="12700">
            <a:miter lim="400000"/>
          </a:ln>
        </p:spPr>
      </p:pic>
      <p:pic>
        <p:nvPicPr>
          <p:cNvPr id="3129" name="Logo_Siemens_Energy.png" descr="Logo_Siemens_Energy.png">
            <a:extLst>
              <a:ext uri="{FF2B5EF4-FFF2-40B4-BE49-F238E27FC236}">
                <a16:creationId xmlns:a16="http://schemas.microsoft.com/office/drawing/2014/main" id="{9E56DDF2-E2B9-3BDD-9AB3-EB8D16B09E1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29271" y="1083550"/>
            <a:ext cx="2252334" cy="772940"/>
          </a:xfrm>
          <a:prstGeom prst="rect">
            <a:avLst/>
          </a:prstGeom>
          <a:ln w="12700">
            <a:miter lim="400000"/>
          </a:ln>
        </p:spPr>
      </p:pic>
      <p:pic>
        <p:nvPicPr>
          <p:cNvPr id="3130" name="Logo_Siemens.png" descr="Logo_Siemens.png">
            <a:extLst>
              <a:ext uri="{FF2B5EF4-FFF2-40B4-BE49-F238E27FC236}">
                <a16:creationId xmlns:a16="http://schemas.microsoft.com/office/drawing/2014/main" id="{DA5D682E-1B32-005A-5C2F-F18CDAAEACB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89341" y="1264317"/>
            <a:ext cx="2252333" cy="359323"/>
          </a:xfrm>
          <a:prstGeom prst="rect">
            <a:avLst/>
          </a:prstGeom>
          <a:ln w="12700">
            <a:miter lim="400000"/>
          </a:ln>
        </p:spPr>
      </p:pic>
      <p:pic>
        <p:nvPicPr>
          <p:cNvPr id="3131" name="Logo_Systain.png" descr="Logo_Systain.png">
            <a:extLst>
              <a:ext uri="{FF2B5EF4-FFF2-40B4-BE49-F238E27FC236}">
                <a16:creationId xmlns:a16="http://schemas.microsoft.com/office/drawing/2014/main" id="{E4DA3C17-0185-172C-003C-6546161BF7E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27477" y="8043120"/>
            <a:ext cx="2576065" cy="708813"/>
          </a:xfrm>
          <a:prstGeom prst="rect">
            <a:avLst/>
          </a:prstGeom>
          <a:ln w="12700">
            <a:miter lim="400000"/>
          </a:ln>
        </p:spPr>
      </p:pic>
      <p:sp>
        <p:nvSpPr>
          <p:cNvPr id="3132" name="Abgerundetes Rechteck">
            <a:extLst>
              <a:ext uri="{FF2B5EF4-FFF2-40B4-BE49-F238E27FC236}">
                <a16:creationId xmlns:a16="http://schemas.microsoft.com/office/drawing/2014/main" id="{38FF8F43-CC7A-D604-78C5-D5EC701B5653}"/>
              </a:ext>
            </a:extLst>
          </p:cNvPr>
          <p:cNvSpPr/>
          <p:nvPr/>
        </p:nvSpPr>
        <p:spPr>
          <a:xfrm>
            <a:off x="23169817" y="12469695"/>
            <a:ext cx="633262" cy="633262"/>
          </a:xfrm>
          <a:prstGeom prst="roundRect">
            <a:avLst>
              <a:gd name="adj" fmla="val 9583"/>
            </a:avLst>
          </a:prstGeom>
          <a:solidFill>
            <a:srgbClr val="000000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133" name="Text">
            <a:extLst>
              <a:ext uri="{FF2B5EF4-FFF2-40B4-BE49-F238E27FC236}">
                <a16:creationId xmlns:a16="http://schemas.microsoft.com/office/drawing/2014/main" id="{DB659472-0D3E-C44D-0DAD-DC2E1A85996A}"/>
              </a:ext>
            </a:extLst>
          </p:cNvPr>
          <p:cNvSpPr txBox="1"/>
          <p:nvPr/>
        </p:nvSpPr>
        <p:spPr>
          <a:xfrm>
            <a:off x="23169817" y="1254902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3C6DF5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pPr marL="0" marR="0" lvl="0" indent="0" algn="ctr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DE" sz="2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Regular"/>
                <a:sym typeface="Aeonik Regular"/>
              </a:rPr>
              <a:pPr marL="0" marR="0" lvl="0" indent="0" algn="ctr" defTabSz="2438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DE" sz="2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eonik Regular"/>
              <a:sym typeface="Aeonik Regular"/>
            </a:endParaRPr>
          </a:p>
        </p:txBody>
      </p:sp>
      <p:pic>
        <p:nvPicPr>
          <p:cNvPr id="3" name="Picture 2" descr="Blue text on a black background&#10;&#10;Description automatically generated">
            <a:extLst>
              <a:ext uri="{FF2B5EF4-FFF2-40B4-BE49-F238E27FC236}">
                <a16:creationId xmlns:a16="http://schemas.microsoft.com/office/drawing/2014/main" id="{6F271FF6-0C36-A473-8438-619D327B3627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53617" y="3774799"/>
            <a:ext cx="4003642" cy="61594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FBE7EF-A885-9AF1-D642-EC873BCB221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8943" t="38213" r="17735" b="45618"/>
          <a:stretch/>
        </p:blipFill>
        <p:spPr>
          <a:xfrm>
            <a:off x="13459167" y="3629601"/>
            <a:ext cx="2644375" cy="955525"/>
          </a:xfrm>
          <a:prstGeom prst="rect">
            <a:avLst/>
          </a:prstGeom>
        </p:spPr>
      </p:pic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239B9D52-E541-6C23-D5BD-8F4BCEE7AB3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2807" y="11863380"/>
            <a:ext cx="2525263" cy="959600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865CCCB-6B98-C21A-D5A0-4DEB44C00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494" y="961868"/>
            <a:ext cx="8882800" cy="11989945"/>
          </a:xfrm>
        </p:spPr>
        <p:txBody>
          <a:bodyPr/>
          <a:lstStyle/>
          <a:p>
            <a:r>
              <a:rPr lang="en-US" sz="8800" err="1"/>
              <a:t>ctrl+s</a:t>
            </a:r>
            <a:r>
              <a:rPr lang="en-US" sz="8800"/>
              <a:t>:</a:t>
            </a:r>
          </a:p>
          <a:p>
            <a:r>
              <a:rPr lang="en-US" sz="8800"/>
              <a:t>a shortcut to supply chain decarbonization</a:t>
            </a:r>
          </a:p>
        </p:txBody>
      </p:sp>
      <p:pic>
        <p:nvPicPr>
          <p:cNvPr id="9" name="Grafik 8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C6033766-A31A-BD41-3211-CED3ACC2506E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07942" y="7677960"/>
            <a:ext cx="2094993" cy="1370858"/>
          </a:xfrm>
          <a:prstGeom prst="rect">
            <a:avLst/>
          </a:prstGeom>
        </p:spPr>
      </p:pic>
      <p:pic>
        <p:nvPicPr>
          <p:cNvPr id="10" name="Grafik 9" descr="Ein Bild, das Schwarz, Dunkelheit, Grafiken, Design enthält.&#10;&#10;Automatisch generierte Beschreibung">
            <a:extLst>
              <a:ext uri="{FF2B5EF4-FFF2-40B4-BE49-F238E27FC236}">
                <a16:creationId xmlns:a16="http://schemas.microsoft.com/office/drawing/2014/main" id="{64B6CC93-B670-1A1B-F4AF-695E9CDB0C79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75998" y="10173640"/>
            <a:ext cx="2879025" cy="1580397"/>
          </a:xfrm>
          <a:prstGeom prst="rect">
            <a:avLst/>
          </a:prstGeom>
        </p:spPr>
      </p:pic>
      <p:pic>
        <p:nvPicPr>
          <p:cNvPr id="11" name="Grafik 10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5F3CC576-AE7A-9684-5F9C-F2B719973768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56213" y="11483883"/>
            <a:ext cx="1718597" cy="1718594"/>
          </a:xfrm>
          <a:prstGeom prst="rect">
            <a:avLst/>
          </a:prstGeom>
        </p:spPr>
      </p:pic>
      <p:pic>
        <p:nvPicPr>
          <p:cNvPr id="12" name="Grafik 1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564E1B45-16D8-007C-292D-8246543B7411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41454" y="10807823"/>
            <a:ext cx="2827968" cy="67606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DFB0920-BDDF-27F6-2E1C-2C489195D61E}"/>
              </a:ext>
            </a:extLst>
          </p:cNvPr>
          <p:cNvSpPr txBox="1"/>
          <p:nvPr/>
        </p:nvSpPr>
        <p:spPr>
          <a:xfrm>
            <a:off x="9985205" y="2320055"/>
            <a:ext cx="1942840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corporate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65E627A-9C20-0CCD-208D-00944042BB3A}"/>
              </a:ext>
            </a:extLst>
          </p:cNvPr>
          <p:cNvSpPr txBox="1"/>
          <p:nvPr/>
        </p:nvSpPr>
        <p:spPr>
          <a:xfrm>
            <a:off x="9940086" y="7307190"/>
            <a:ext cx="2099934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consultant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5E76D55-5860-FFB9-EBD9-FD94A66518F6}"/>
              </a:ext>
            </a:extLst>
          </p:cNvPr>
          <p:cNvSpPr txBox="1"/>
          <p:nvPr/>
        </p:nvSpPr>
        <p:spPr>
          <a:xfrm>
            <a:off x="9892797" y="11327828"/>
            <a:ext cx="2194512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ea typeface="Helvetica Neue"/>
                <a:cs typeface="Helvetica Neue"/>
                <a:sym typeface="Helvetica Neue"/>
              </a:rPr>
              <a:t>IT solutions</a:t>
            </a:r>
          </a:p>
        </p:txBody>
      </p:sp>
    </p:spTree>
    <p:extLst>
      <p:ext uri="{BB962C8B-B14F-4D97-AF65-F5344CB8AC3E}">
        <p14:creationId xmlns:p14="http://schemas.microsoft.com/office/powerpoint/2010/main" val="26344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">
            <a:extLst>
              <a:ext uri="{FF2B5EF4-FFF2-40B4-BE49-F238E27FC236}">
                <a16:creationId xmlns:a16="http://schemas.microsoft.com/office/drawing/2014/main" id="{41FD60D3-E273-E2B1-420E-12C28771EC6F}"/>
              </a:ext>
            </a:extLst>
          </p:cNvPr>
          <p:cNvSpPr/>
          <p:nvPr/>
        </p:nvSpPr>
        <p:spPr>
          <a:xfrm>
            <a:off x="3171695" y="6014762"/>
            <a:ext cx="3985623" cy="2031869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457154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Footprint &amp; 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Hot-Spots</a:t>
            </a:r>
          </a:p>
        </p:txBody>
      </p:sp>
      <p:sp>
        <p:nvSpPr>
          <p:cNvPr id="15" name="Rechteck">
            <a:extLst>
              <a:ext uri="{FF2B5EF4-FFF2-40B4-BE49-F238E27FC236}">
                <a16:creationId xmlns:a16="http://schemas.microsoft.com/office/drawing/2014/main" id="{97984233-F3F7-34F0-CB5F-DB1CBF08BF90}"/>
              </a:ext>
            </a:extLst>
          </p:cNvPr>
          <p:cNvSpPr/>
          <p:nvPr/>
        </p:nvSpPr>
        <p:spPr>
          <a:xfrm>
            <a:off x="7254572" y="6027598"/>
            <a:ext cx="3985623" cy="2031869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457154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Measures &amp;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Targets</a:t>
            </a:r>
          </a:p>
        </p:txBody>
      </p:sp>
      <p:sp>
        <p:nvSpPr>
          <p:cNvPr id="72" name="Rechteck">
            <a:extLst>
              <a:ext uri="{FF2B5EF4-FFF2-40B4-BE49-F238E27FC236}">
                <a16:creationId xmlns:a16="http://schemas.microsoft.com/office/drawing/2014/main" id="{3C496EDE-071C-776E-AF16-65CBBFB53DED}"/>
              </a:ext>
            </a:extLst>
          </p:cNvPr>
          <p:cNvSpPr/>
          <p:nvPr/>
        </p:nvSpPr>
        <p:spPr>
          <a:xfrm>
            <a:off x="3171693" y="8177988"/>
            <a:ext cx="8068501" cy="105173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457154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Reporting</a:t>
            </a:r>
          </a:p>
        </p:txBody>
      </p:sp>
      <p:sp>
        <p:nvSpPr>
          <p:cNvPr id="92" name="Textplatzhalter 1">
            <a:extLst>
              <a:ext uri="{FF2B5EF4-FFF2-40B4-BE49-F238E27FC236}">
                <a16:creationId xmlns:a16="http://schemas.microsoft.com/office/drawing/2014/main" id="{3E35C524-53BA-432A-A886-77A3E4AF6F1A}"/>
              </a:ext>
            </a:extLst>
          </p:cNvPr>
          <p:cNvSpPr txBox="1">
            <a:spLocks/>
          </p:cNvSpPr>
          <p:nvPr/>
        </p:nvSpPr>
        <p:spPr>
          <a:xfrm>
            <a:off x="1317993" y="1168717"/>
            <a:ext cx="15138229" cy="1433070"/>
          </a:xfrm>
          <a:prstGeom prst="rect">
            <a:avLst/>
          </a:prstGeom>
        </p:spPr>
        <p:txBody>
          <a:bodyPr/>
          <a:lstStyle>
            <a:lvl1pPr marL="6096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12192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18288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24384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30480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36576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42672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48768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54864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2438338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5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 panose="020B0503030300000000" pitchFamily="34" charset="0"/>
                <a:ea typeface="Helvetica Neue"/>
                <a:cs typeface="Helvetica Neue"/>
                <a:sym typeface="Helvetica Neue"/>
              </a:rPr>
              <a:t>Introducing scope 3 management has two phases</a:t>
            </a:r>
          </a:p>
        </p:txBody>
      </p:sp>
      <p:sp>
        <p:nvSpPr>
          <p:cNvPr id="2" name="Rechteck">
            <a:extLst>
              <a:ext uri="{FF2B5EF4-FFF2-40B4-BE49-F238E27FC236}">
                <a16:creationId xmlns:a16="http://schemas.microsoft.com/office/drawing/2014/main" id="{756B5B4D-2740-8C16-7192-67828BF07192}"/>
              </a:ext>
            </a:extLst>
          </p:cNvPr>
          <p:cNvSpPr/>
          <p:nvPr/>
        </p:nvSpPr>
        <p:spPr>
          <a:xfrm>
            <a:off x="12782420" y="6014762"/>
            <a:ext cx="3985623" cy="2031869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457154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Supplier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engagement</a:t>
            </a:r>
          </a:p>
        </p:txBody>
      </p:sp>
      <p:sp>
        <p:nvSpPr>
          <p:cNvPr id="3" name="Rechteck">
            <a:extLst>
              <a:ext uri="{FF2B5EF4-FFF2-40B4-BE49-F238E27FC236}">
                <a16:creationId xmlns:a16="http://schemas.microsoft.com/office/drawing/2014/main" id="{7B12E1A9-3DB4-2C90-2295-C1D6B0CB1994}"/>
              </a:ext>
            </a:extLst>
          </p:cNvPr>
          <p:cNvSpPr/>
          <p:nvPr/>
        </p:nvSpPr>
        <p:spPr>
          <a:xfrm>
            <a:off x="16865297" y="6027598"/>
            <a:ext cx="3985623" cy="2031869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457154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Supplier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selection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E9A03CB8-0703-5348-DED8-3260F5AF9712}"/>
              </a:ext>
            </a:extLst>
          </p:cNvPr>
          <p:cNvSpPr/>
          <p:nvPr/>
        </p:nvSpPr>
        <p:spPr>
          <a:xfrm>
            <a:off x="12782418" y="8177988"/>
            <a:ext cx="8068501" cy="105173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457154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Tracking emissions over tim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0516446-F75E-5793-32B1-F256D1C5AB55}"/>
              </a:ext>
            </a:extLst>
          </p:cNvPr>
          <p:cNvSpPr txBox="1"/>
          <p:nvPr/>
        </p:nvSpPr>
        <p:spPr>
          <a:xfrm>
            <a:off x="6621386" y="4635201"/>
            <a:ext cx="1266372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hase I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4CDFA2-5BD0-764F-7582-4478680858DF}"/>
              </a:ext>
            </a:extLst>
          </p:cNvPr>
          <p:cNvSpPr txBox="1"/>
          <p:nvPr/>
        </p:nvSpPr>
        <p:spPr>
          <a:xfrm>
            <a:off x="16192036" y="4635201"/>
            <a:ext cx="1346522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hase II</a:t>
            </a:r>
          </a:p>
        </p:txBody>
      </p:sp>
    </p:spTree>
    <p:extLst>
      <p:ext uri="{BB962C8B-B14F-4D97-AF65-F5344CB8AC3E}">
        <p14:creationId xmlns:p14="http://schemas.microsoft.com/office/powerpoint/2010/main" val="43097798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72" grpId="0" animBg="1"/>
      <p:bldP spid="2" grpId="0" animBg="1"/>
      <p:bldP spid="3" grpId="0" animBg="1"/>
      <p:bldP spid="4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6" name="supplier+s is a supplier survey with a radically outcome-oriented angle – delivering carbon reduction in real-time.…"/>
          <p:cNvSpPr txBox="1"/>
          <p:nvPr/>
        </p:nvSpPr>
        <p:spPr>
          <a:xfrm>
            <a:off x="1241664" y="8111856"/>
            <a:ext cx="12287506" cy="44960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/>
          <a:p>
            <a:pPr marL="0" marR="0" lvl="0" indent="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r>
              <a:rPr kumimoji="0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supplier+s is a supplier survey with a radically outcome-oriented angle – delivering carbon reduction in real-time.</a:t>
            </a:r>
          </a:p>
          <a:p>
            <a:pPr marL="0" marR="0" lvl="0" indent="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endParaRPr kumimoji="0" sz="2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Medium"/>
              <a:sym typeface="Aeonik Medium"/>
            </a:endParaRPr>
          </a:p>
          <a:p>
            <a:pPr marL="0" marR="0" lvl="0" indent="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The platform asks suppliers 19 questions on carbon reduction activities aiming for one quantitative KPI: a supplier‘s carbon reduction performance. This lets companies track real reduction efforts along the entire supply chain and harvest dormant reduction potentials with zero extra effort: suppliers automatically know where to reduce next and you automatically watch your emissions drop. Without exhaustively long questionnaires, without merely qualitative KPIs.</a:t>
            </a:r>
          </a:p>
        </p:txBody>
      </p:sp>
      <p:pic>
        <p:nvPicPr>
          <p:cNvPr id="3087" name="shawnanggg--S15r4VsQhY-unsplash Kopie2.jpg" descr="shawnanggg--S15r4VsQhY-unsplash Kopie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21600000">
            <a:off x="-24728" y="6952741"/>
            <a:ext cx="16263499" cy="6770853"/>
          </a:xfrm>
          <a:prstGeom prst="rect">
            <a:avLst/>
          </a:prstGeom>
          <a:ln w="12700">
            <a:miter lim="400000"/>
          </a:ln>
        </p:spPr>
      </p:pic>
      <p:sp>
        <p:nvSpPr>
          <p:cNvPr id="3088" name="supplier+s is a supplier survey with a radically outcome-oriented angle – delivering carbon reduction just-in-time.…"/>
          <p:cNvSpPr txBox="1"/>
          <p:nvPr/>
        </p:nvSpPr>
        <p:spPr>
          <a:xfrm>
            <a:off x="17585609" y="2904472"/>
            <a:ext cx="6106634" cy="90251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/>
          <a:lstStyle/>
          <a:p>
            <a:pPr marL="0" marR="0" lvl="0" indent="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pPr>
            <a:r>
              <a:rPr kumimoji="0" lang="en-US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supplier+s</a:t>
            </a: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 is a supplier survey with a radically outcome-oriented angle – delivering carbon reduction just-in-time.</a:t>
            </a:r>
          </a:p>
          <a:p>
            <a:pPr marL="0" marR="0" lvl="0" indent="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/>
              <a:sym typeface="Aeonik Light"/>
            </a:endParaRPr>
          </a:p>
          <a:p>
            <a:pPr marL="0" marR="0" lvl="0" indent="0" algn="l" defTabSz="457154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Aeonik Light"/>
                <a:ea typeface="Aeonik Light"/>
                <a:cs typeface="Aeonik Light"/>
                <a:sym typeface="Aeonik Light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/>
                <a:sym typeface="Aeonik Light"/>
              </a:rPr>
              <a:t>The platform asks suppliers 19 questions on carbon reduction activities. Lead firms track reduction efforts along the entire supply chain and harvest dormant reduction potentials with zero extra effort: Suppliers automatically know where to reduce next while lead firms watch their emissions drop. With minimum burden on suppliers and quantitative results.</a:t>
            </a:r>
          </a:p>
        </p:txBody>
      </p:sp>
      <p:sp>
        <p:nvSpPr>
          <p:cNvPr id="3092" name="Carbon reduction. Delivered."/>
          <p:cNvSpPr txBox="1"/>
          <p:nvPr/>
        </p:nvSpPr>
        <p:spPr>
          <a:xfrm>
            <a:off x="1279895" y="2494312"/>
            <a:ext cx="10621634" cy="317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>
            <a:spAutoFit/>
          </a:bodyPr>
          <a:lstStyle>
            <a:lvl1pPr algn="l" defTabSz="457200">
              <a:defRPr sz="10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9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Carbon reduction. Delivered.</a:t>
            </a:r>
          </a:p>
        </p:txBody>
      </p:sp>
      <p:pic>
        <p:nvPicPr>
          <p:cNvPr id="3093" name="Bild" descr="Bild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1424" y="1382942"/>
            <a:ext cx="3379063" cy="6349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Abgerundetes Rechteck">
            <a:extLst>
              <a:ext uri="{FF2B5EF4-FFF2-40B4-BE49-F238E27FC236}">
                <a16:creationId xmlns:a16="http://schemas.microsoft.com/office/drawing/2014/main" id="{47D67B6B-251D-D50A-2A2A-AFD5DF149F43}"/>
              </a:ext>
            </a:extLst>
          </p:cNvPr>
          <p:cNvSpPr/>
          <p:nvPr/>
        </p:nvSpPr>
        <p:spPr>
          <a:xfrm>
            <a:off x="23169817" y="12469695"/>
            <a:ext cx="633262" cy="633262"/>
          </a:xfrm>
          <a:prstGeom prst="roundRect">
            <a:avLst>
              <a:gd name="adj" fmla="val 9583"/>
            </a:avLst>
          </a:prstGeom>
          <a:solidFill>
            <a:srgbClr val="3C6DF6"/>
          </a:solidFill>
          <a:ln w="12700">
            <a:miter lim="400000"/>
          </a:ln>
        </p:spPr>
        <p:txBody>
          <a:bodyPr lIns="50797" tIns="50797" rIns="50797" bIns="50797" anchor="ctr"/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59B060BA-9226-0191-2540-A4577C7D00BD}"/>
              </a:ext>
            </a:extLst>
          </p:cNvPr>
          <p:cNvSpPr txBox="1"/>
          <p:nvPr/>
        </p:nvSpPr>
        <p:spPr>
          <a:xfrm>
            <a:off x="23169817" y="12549022"/>
            <a:ext cx="633262" cy="487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>
            <a:spAutoFit/>
          </a:bodyPr>
          <a:lstStyle>
            <a:lvl1pPr defTabSz="2438400">
              <a:defRPr sz="1500">
                <a:solidFill>
                  <a:srgbClr val="FFFFFF"/>
                </a:solidFill>
                <a:latin typeface="Aeonik Regular"/>
                <a:ea typeface="Aeonik Regular"/>
                <a:cs typeface="Aeonik Regular"/>
                <a:sym typeface="Aeonik Regular"/>
              </a:defRPr>
            </a:lvl1pPr>
          </a:lstStyle>
          <a:p>
            <a:pPr marL="0" marR="0" lvl="0" indent="0" algn="ctr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Regular"/>
                <a:sym typeface="Aeonik Regular"/>
              </a:rPr>
              <a:pPr marL="0" marR="0" lvl="0" indent="0" algn="ctr" defTabSz="2438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Regular"/>
              <a:sym typeface="Aeoni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52997193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">
            <a:extLst>
              <a:ext uri="{FF2B5EF4-FFF2-40B4-BE49-F238E27FC236}">
                <a16:creationId xmlns:a16="http://schemas.microsoft.com/office/drawing/2014/main" id="{41FD60D3-E273-E2B1-420E-12C28771EC6F}"/>
              </a:ext>
            </a:extLst>
          </p:cNvPr>
          <p:cNvSpPr/>
          <p:nvPr/>
        </p:nvSpPr>
        <p:spPr>
          <a:xfrm>
            <a:off x="3172283" y="5993047"/>
            <a:ext cx="3985365" cy="203173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5" tIns="50795" rIns="50795" bIns="50795" numCol="1" anchor="ctr">
            <a:noAutofit/>
          </a:bodyPr>
          <a:lstStyle/>
          <a:p>
            <a:pPr marL="0" marR="0" lvl="0" indent="0" algn="ctr" defTabSz="457131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Footprint &amp; 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Hotspots</a:t>
            </a:r>
          </a:p>
        </p:txBody>
      </p:sp>
      <p:sp>
        <p:nvSpPr>
          <p:cNvPr id="15" name="Rechteck">
            <a:extLst>
              <a:ext uri="{FF2B5EF4-FFF2-40B4-BE49-F238E27FC236}">
                <a16:creationId xmlns:a16="http://schemas.microsoft.com/office/drawing/2014/main" id="{97984233-F3F7-34F0-CB5F-DB1CBF08BF90}"/>
              </a:ext>
            </a:extLst>
          </p:cNvPr>
          <p:cNvSpPr/>
          <p:nvPr/>
        </p:nvSpPr>
        <p:spPr>
          <a:xfrm>
            <a:off x="7254893" y="6005882"/>
            <a:ext cx="3985365" cy="203173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5" tIns="50795" rIns="50795" bIns="50795" numCol="1" anchor="ctr">
            <a:noAutofit/>
          </a:bodyPr>
          <a:lstStyle/>
          <a:p>
            <a:pPr marL="0" marR="0" lvl="0" indent="0" algn="ctr" defTabSz="457131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Measures &amp;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Targets</a:t>
            </a:r>
          </a:p>
        </p:txBody>
      </p:sp>
      <p:sp>
        <p:nvSpPr>
          <p:cNvPr id="72" name="Rechteck">
            <a:extLst>
              <a:ext uri="{FF2B5EF4-FFF2-40B4-BE49-F238E27FC236}">
                <a16:creationId xmlns:a16="http://schemas.microsoft.com/office/drawing/2014/main" id="{3C496EDE-071C-776E-AF16-65CBBFB53DED}"/>
              </a:ext>
            </a:extLst>
          </p:cNvPr>
          <p:cNvSpPr/>
          <p:nvPr/>
        </p:nvSpPr>
        <p:spPr>
          <a:xfrm>
            <a:off x="3172282" y="8177903"/>
            <a:ext cx="8067977" cy="105167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5" tIns="50795" rIns="50795" bIns="50795" numCol="1" anchor="ctr">
            <a:noAutofit/>
          </a:bodyPr>
          <a:lstStyle/>
          <a:p>
            <a:pPr marL="0" marR="0" lvl="0" indent="0" algn="ctr" defTabSz="457131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Reporting</a:t>
            </a:r>
          </a:p>
        </p:txBody>
      </p:sp>
      <p:sp>
        <p:nvSpPr>
          <p:cNvPr id="92" name="Textplatzhalter 1">
            <a:extLst>
              <a:ext uri="{FF2B5EF4-FFF2-40B4-BE49-F238E27FC236}">
                <a16:creationId xmlns:a16="http://schemas.microsoft.com/office/drawing/2014/main" id="{3E35C524-53BA-432A-A886-77A3E4AF6F1A}"/>
              </a:ext>
            </a:extLst>
          </p:cNvPr>
          <p:cNvSpPr txBox="1">
            <a:spLocks/>
          </p:cNvSpPr>
          <p:nvPr/>
        </p:nvSpPr>
        <p:spPr>
          <a:xfrm>
            <a:off x="1318702" y="1169089"/>
            <a:ext cx="16259581" cy="1432977"/>
          </a:xfrm>
          <a:prstGeom prst="rect">
            <a:avLst/>
          </a:prstGeom>
        </p:spPr>
        <p:txBody>
          <a:bodyPr/>
          <a:lstStyle>
            <a:lvl1pPr marL="6096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12192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18288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24384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30480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36576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42672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48768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5486400" marR="0" indent="-609600" algn="l" defTabSz="2438338" rtl="0" latinLnBrk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4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2438338" rtl="0" eaLnBrk="1" fontAlgn="auto" latinLnBrk="0" hangingPunct="1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n-US" sz="5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 panose="020B0503030300000000" pitchFamily="34" charset="0"/>
                <a:ea typeface="Helvetica Neue"/>
                <a:cs typeface="Helvetica Neue"/>
                <a:sym typeface="Helvetica Neue"/>
              </a:rPr>
              <a:t>The ctrl+s solution to effectively manage Scope 3 features two complementary products </a:t>
            </a:r>
          </a:p>
        </p:txBody>
      </p:sp>
      <p:sp>
        <p:nvSpPr>
          <p:cNvPr id="2" name="Rechteck">
            <a:extLst>
              <a:ext uri="{FF2B5EF4-FFF2-40B4-BE49-F238E27FC236}">
                <a16:creationId xmlns:a16="http://schemas.microsoft.com/office/drawing/2014/main" id="{756B5B4D-2740-8C16-7192-67828BF07192}"/>
              </a:ext>
            </a:extLst>
          </p:cNvPr>
          <p:cNvSpPr/>
          <p:nvPr/>
        </p:nvSpPr>
        <p:spPr>
          <a:xfrm>
            <a:off x="12782381" y="5993047"/>
            <a:ext cx="3985365" cy="203173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5" tIns="50795" rIns="50795" bIns="50795" numCol="1" anchor="ctr">
            <a:noAutofit/>
          </a:bodyPr>
          <a:lstStyle/>
          <a:p>
            <a:pPr marL="0" marR="0" lvl="0" indent="0" algn="ctr" defTabSz="457131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Supplier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engagement</a:t>
            </a:r>
          </a:p>
        </p:txBody>
      </p:sp>
      <p:sp>
        <p:nvSpPr>
          <p:cNvPr id="3" name="Rechteck">
            <a:extLst>
              <a:ext uri="{FF2B5EF4-FFF2-40B4-BE49-F238E27FC236}">
                <a16:creationId xmlns:a16="http://schemas.microsoft.com/office/drawing/2014/main" id="{7B12E1A9-3DB4-2C90-2295-C1D6B0CB1994}"/>
              </a:ext>
            </a:extLst>
          </p:cNvPr>
          <p:cNvSpPr/>
          <p:nvPr/>
        </p:nvSpPr>
        <p:spPr>
          <a:xfrm>
            <a:off x="16864993" y="6005882"/>
            <a:ext cx="3985365" cy="203173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5" tIns="50795" rIns="50795" bIns="50795" numCol="1" anchor="ctr">
            <a:noAutofit/>
          </a:bodyPr>
          <a:lstStyle/>
          <a:p>
            <a:pPr marL="0" marR="0" lvl="0" indent="0" algn="ctr" defTabSz="457131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Supplier</a:t>
            </a:r>
            <a:b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</a:b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selection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E9A03CB8-0703-5348-DED8-3260F5AF9712}"/>
              </a:ext>
            </a:extLst>
          </p:cNvPr>
          <p:cNvSpPr/>
          <p:nvPr/>
        </p:nvSpPr>
        <p:spPr>
          <a:xfrm>
            <a:off x="12782380" y="8177903"/>
            <a:ext cx="8067977" cy="105167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50795" tIns="50795" rIns="50795" bIns="50795" numCol="1" anchor="ctr">
            <a:noAutofit/>
          </a:bodyPr>
          <a:lstStyle/>
          <a:p>
            <a:pPr marL="0" marR="0" lvl="0" indent="0" algn="ctr" defTabSz="457131" rtl="0" eaLnBrk="1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eonik Fono Regular"/>
                <a:sym typeface="Aeonik Fono Regular"/>
              </a:rPr>
              <a:t>Tracking emissions over tim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0516446-F75E-5793-32B1-F256D1C5AB55}"/>
              </a:ext>
            </a:extLst>
          </p:cNvPr>
          <p:cNvSpPr txBox="1"/>
          <p:nvPr/>
        </p:nvSpPr>
        <p:spPr>
          <a:xfrm>
            <a:off x="6621749" y="4421594"/>
            <a:ext cx="1266366" cy="902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97" tIns="50797" rIns="50797" bIns="50797" numCol="1" spcCol="38100" rtlCol="0" anchor="t">
            <a:spAutoFit/>
          </a:bodyPr>
          <a:lstStyle/>
          <a:p>
            <a:pPr marL="0" marR="0" lvl="0" indent="0" algn="l" defTabSz="2438216" rtl="0" eaLnBrk="1" fontAlgn="auto" latinLnBrk="0" hangingPunct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hase I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4CDFA2-5BD0-764F-7582-4478680858DF}"/>
              </a:ext>
            </a:extLst>
          </p:cNvPr>
          <p:cNvSpPr txBox="1"/>
          <p:nvPr/>
        </p:nvSpPr>
        <p:spPr>
          <a:xfrm>
            <a:off x="16231849" y="4421594"/>
            <a:ext cx="1346516" cy="902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97" tIns="50797" rIns="50797" bIns="50797" numCol="1" spcCol="38100" rtlCol="0" anchor="t">
            <a:spAutoFit/>
          </a:bodyPr>
          <a:lstStyle/>
          <a:p>
            <a:pPr marL="0" marR="0" lvl="0" indent="0" algn="l" defTabSz="2438216" rtl="0" eaLnBrk="1" fontAlgn="auto" latinLnBrk="0" hangingPunct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hase II</a:t>
            </a:r>
          </a:p>
        </p:txBody>
      </p:sp>
      <p:sp>
        <p:nvSpPr>
          <p:cNvPr id="10" name="Efficient statistical data for a complete overview">
            <a:extLst>
              <a:ext uri="{FF2B5EF4-FFF2-40B4-BE49-F238E27FC236}">
                <a16:creationId xmlns:a16="http://schemas.microsoft.com/office/drawing/2014/main" id="{D1E936CA-B271-EE4C-9931-B3E378508792}"/>
              </a:ext>
            </a:extLst>
          </p:cNvPr>
          <p:cNvSpPr/>
          <p:nvPr/>
        </p:nvSpPr>
        <p:spPr>
          <a:xfrm>
            <a:off x="4160641" y="11598253"/>
            <a:ext cx="5994010" cy="449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/>
          <a:lstStyle>
            <a:lvl1pPr defTabSz="457200">
              <a:lnSpc>
                <a:spcPct val="140000"/>
              </a:lnSpc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lvl1pPr>
          </a:lstStyle>
          <a:p>
            <a:pPr marL="0" marR="0" lvl="0" indent="0" algn="ctr" defTabSz="457200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sym typeface="Aeonik Fono Regular"/>
              </a:rPr>
              <a:t>Hybrid spend-based model</a:t>
            </a:r>
          </a:p>
        </p:txBody>
      </p:sp>
      <p:sp>
        <p:nvSpPr>
          <p:cNvPr id="11" name="Relevant supplier survey data for actionable insights">
            <a:extLst>
              <a:ext uri="{FF2B5EF4-FFF2-40B4-BE49-F238E27FC236}">
                <a16:creationId xmlns:a16="http://schemas.microsoft.com/office/drawing/2014/main" id="{E4111A81-9F30-1288-5280-E9EC0A9B1790}"/>
              </a:ext>
            </a:extLst>
          </p:cNvPr>
          <p:cNvSpPr/>
          <p:nvPr/>
        </p:nvSpPr>
        <p:spPr>
          <a:xfrm>
            <a:off x="13819495" y="11598253"/>
            <a:ext cx="5993748" cy="449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5" tIns="50795" rIns="50795" bIns="50795"/>
          <a:lstStyle>
            <a:lvl1pPr defTabSz="457200">
              <a:lnSpc>
                <a:spcPct val="140000"/>
              </a:lnSpc>
              <a:defRPr sz="2000">
                <a:solidFill>
                  <a:srgbClr val="000000"/>
                </a:solidFill>
                <a:latin typeface="Aeonik Fono Regular"/>
                <a:ea typeface="Aeonik Fono Regular"/>
                <a:cs typeface="Aeonik Fono Regular"/>
                <a:sym typeface="Aeonik Fono Regular"/>
              </a:defRPr>
            </a:lvl1pPr>
          </a:lstStyle>
          <a:p>
            <a:pPr marL="0" marR="0" lvl="0" indent="0" algn="ctr" defTabSz="457200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Fono" panose="020B0504030300000000" pitchFamily="34" charset="0"/>
                <a:sym typeface="Aeonik Fono Regular"/>
              </a:rPr>
              <a:t>Supplier survey platform</a:t>
            </a:r>
          </a:p>
        </p:txBody>
      </p:sp>
      <p:pic>
        <p:nvPicPr>
          <p:cNvPr id="19" name="Grafik 18" descr="Ein Bild, das Schrift, Electric Blue (Farbe), Screenshot, Grafiken enthält.&#10;&#10;Automatisch generierte Beschreibung">
            <a:extLst>
              <a:ext uri="{FF2B5EF4-FFF2-40B4-BE49-F238E27FC236}">
                <a16:creationId xmlns:a16="http://schemas.microsoft.com/office/drawing/2014/main" id="{5356AA11-CDCD-0702-E50A-68C2FE76AB4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31931" y="10212956"/>
            <a:ext cx="5981311" cy="1117527"/>
          </a:xfrm>
          <a:prstGeom prst="rect">
            <a:avLst/>
          </a:prstGeom>
        </p:spPr>
      </p:pic>
      <p:pic>
        <p:nvPicPr>
          <p:cNvPr id="6" name="Picture 5" descr="A blue and black symbols&#10;&#10;Description automatically generated">
            <a:extLst>
              <a:ext uri="{FF2B5EF4-FFF2-40B4-BE49-F238E27FC236}">
                <a16:creationId xmlns:a16="http://schemas.microsoft.com/office/drawing/2014/main" id="{17D8B7E4-7226-94B1-A9B9-B7FB0E94E8A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370" y="10212883"/>
            <a:ext cx="4749800" cy="11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86326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6DC40E9-098C-209A-D231-E63F931556F8}"/>
              </a:ext>
            </a:extLst>
          </p:cNvPr>
          <p:cNvSpPr/>
          <p:nvPr/>
        </p:nvSpPr>
        <p:spPr>
          <a:xfrm>
            <a:off x="9395693" y="3864963"/>
            <a:ext cx="6260620" cy="6198588"/>
          </a:xfrm>
          <a:prstGeom prst="roundRect">
            <a:avLst>
              <a:gd name="adj" fmla="val 6593"/>
            </a:avLst>
          </a:prstGeom>
          <a:solidFill>
            <a:schemeClr val="accent1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FB7D7BB-D683-0A70-904C-1B25C9D20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assical measurement approaches for supply chain emissions fall shor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9D8161E-F2CC-4330-DD61-804682C57CF8}"/>
              </a:ext>
            </a:extLst>
          </p:cNvPr>
          <p:cNvSpPr txBox="1"/>
          <p:nvPr/>
        </p:nvSpPr>
        <p:spPr>
          <a:xfrm>
            <a:off x="4175760" y="3657600"/>
            <a:ext cx="1098058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CCF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A9959DC-50F4-4391-A9D7-0765E8FF531B}"/>
              </a:ext>
            </a:extLst>
          </p:cNvPr>
          <p:cNvSpPr txBox="1"/>
          <p:nvPr/>
        </p:nvSpPr>
        <p:spPr>
          <a:xfrm>
            <a:off x="20092984" y="3657599"/>
            <a:ext cx="1059585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CF</a:t>
            </a:r>
          </a:p>
        </p:txBody>
      </p:sp>
      <p:pic>
        <p:nvPicPr>
          <p:cNvPr id="8" name="Grafik 7" descr="Ein Bild, das Schrift, Electric Blue (Farbe), Screenshot, Grafiken enthält.&#10;&#10;Automatisch generierte Beschreibung">
            <a:extLst>
              <a:ext uri="{FF2B5EF4-FFF2-40B4-BE49-F238E27FC236}">
                <a16:creationId xmlns:a16="http://schemas.microsoft.com/office/drawing/2014/main" id="{F23797C9-1867-AAC2-7B47-628B79370A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6476" y="3993310"/>
            <a:ext cx="4023658" cy="75176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270E9C7-C57E-996A-C89B-51141FB8DD13}"/>
              </a:ext>
            </a:extLst>
          </p:cNvPr>
          <p:cNvSpPr txBox="1"/>
          <p:nvPr/>
        </p:nvSpPr>
        <p:spPr>
          <a:xfrm>
            <a:off x="2726530" y="4449053"/>
            <a:ext cx="5515934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Supplier's Corporate Carbon Footprin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342B611-99B5-22A0-0345-6A5061EBFFDE}"/>
              </a:ext>
            </a:extLst>
          </p:cNvPr>
          <p:cNvSpPr txBox="1"/>
          <p:nvPr/>
        </p:nvSpPr>
        <p:spPr>
          <a:xfrm>
            <a:off x="17840208" y="4396655"/>
            <a:ext cx="5220981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Supplier's Product Carbon Footprin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4B234E6-2D9A-DAF3-6973-C6307E283444}"/>
              </a:ext>
            </a:extLst>
          </p:cNvPr>
          <p:cNvSpPr txBox="1"/>
          <p:nvPr/>
        </p:nvSpPr>
        <p:spPr>
          <a:xfrm>
            <a:off x="893196" y="5997159"/>
            <a:ext cx="613951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ro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86D79FD-5CFC-B2C6-D0A5-6FB9A66AC0ED}"/>
              </a:ext>
            </a:extLst>
          </p:cNvPr>
          <p:cNvSpPr txBox="1"/>
          <p:nvPr/>
        </p:nvSpPr>
        <p:spPr>
          <a:xfrm>
            <a:off x="2781032" y="6056630"/>
            <a:ext cx="3119444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ncreasingly availabl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B5C3247-DF3B-2663-2078-3F63D095D70F}"/>
              </a:ext>
            </a:extLst>
          </p:cNvPr>
          <p:cNvSpPr txBox="1"/>
          <p:nvPr/>
        </p:nvSpPr>
        <p:spPr>
          <a:xfrm>
            <a:off x="17840208" y="5896966"/>
            <a:ext cx="4658327" cy="87203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Very accurate to concrete inpu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90057C5-A576-1160-B2D6-2C8A423FC0BB}"/>
              </a:ext>
            </a:extLst>
          </p:cNvPr>
          <p:cNvSpPr txBox="1"/>
          <p:nvPr/>
        </p:nvSpPr>
        <p:spPr>
          <a:xfrm>
            <a:off x="838693" y="9916312"/>
            <a:ext cx="708527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Co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F54DC8E-EE53-AD35-57C4-FA6A2FC1DA8E}"/>
              </a:ext>
            </a:extLst>
          </p:cNvPr>
          <p:cNvSpPr txBox="1"/>
          <p:nvPr/>
        </p:nvSpPr>
        <p:spPr>
          <a:xfrm>
            <a:off x="2697058" y="9994207"/>
            <a:ext cx="5515934" cy="22570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Comparability limited (esp. Scope 3)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ortfolio biases (esp. bigger firms)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ast-related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Black box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0944C78-DDE3-2008-D76B-2A24E529ACD1}"/>
              </a:ext>
            </a:extLst>
          </p:cNvPr>
          <p:cNvSpPr txBox="1"/>
          <p:nvPr/>
        </p:nvSpPr>
        <p:spPr>
          <a:xfrm>
            <a:off x="17864811" y="10063551"/>
            <a:ext cx="5959280" cy="26417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Rarely available (esp. complex products)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Limited comparability in case product standard is missing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ast-related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Black box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E17A8AA-363F-2B14-2F9A-ED293182BF77}"/>
              </a:ext>
            </a:extLst>
          </p:cNvPr>
          <p:cNvSpPr txBox="1"/>
          <p:nvPr/>
        </p:nvSpPr>
        <p:spPr>
          <a:xfrm>
            <a:off x="10366476" y="6405798"/>
            <a:ext cx="6015778" cy="33342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Good availability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Good comparability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good consistency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Status quo and forward looking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Deep insights</a:t>
            </a:r>
          </a:p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Tier 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F341087-5937-DC5E-DEE9-EFD336AF22ED}"/>
              </a:ext>
            </a:extLst>
          </p:cNvPr>
          <p:cNvSpPr txBox="1"/>
          <p:nvPr/>
        </p:nvSpPr>
        <p:spPr>
          <a:xfrm>
            <a:off x="296786" y="3909342"/>
            <a:ext cx="2543335" cy="487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Measuremen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6DBA0C9-2622-8E2E-9F24-4D9881DC8DE1}"/>
              </a:ext>
            </a:extLst>
          </p:cNvPr>
          <p:cNvSpPr txBox="1"/>
          <p:nvPr/>
        </p:nvSpPr>
        <p:spPr>
          <a:xfrm>
            <a:off x="10366477" y="5055402"/>
            <a:ext cx="4801806" cy="12567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Supplier's Corporate Performance based upon abatement</a:t>
            </a:r>
          </a:p>
        </p:txBody>
      </p:sp>
      <p:pic>
        <p:nvPicPr>
          <p:cNvPr id="21" name="Grafik 20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7F5DA922-40C0-F4DB-042F-0E35F7F04F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46457" y="8457348"/>
            <a:ext cx="2579103" cy="1059501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ABD958C8-E79D-57DC-6D7C-ED20DD01282C}"/>
              </a:ext>
            </a:extLst>
          </p:cNvPr>
          <p:cNvSpPr txBox="1"/>
          <p:nvPr/>
        </p:nvSpPr>
        <p:spPr>
          <a:xfrm>
            <a:off x="16707982" y="7606153"/>
            <a:ext cx="3392752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ntegration of PCF via </a:t>
            </a:r>
          </a:p>
        </p:txBody>
      </p:sp>
      <p:sp>
        <p:nvSpPr>
          <p:cNvPr id="25" name="Rechteckiger Pfeil 24">
            <a:extLst>
              <a:ext uri="{FF2B5EF4-FFF2-40B4-BE49-F238E27FC236}">
                <a16:creationId xmlns:a16="http://schemas.microsoft.com/office/drawing/2014/main" id="{54F757DB-A3D9-265E-D7E7-6ABBC4890FEF}"/>
              </a:ext>
            </a:extLst>
          </p:cNvPr>
          <p:cNvSpPr/>
          <p:nvPr/>
        </p:nvSpPr>
        <p:spPr>
          <a:xfrm rot="10800000" flipH="1">
            <a:off x="4415519" y="7530893"/>
            <a:ext cx="4461216" cy="1205546"/>
          </a:xfrm>
          <a:prstGeom prst="bentArrow">
            <a:avLst>
              <a:gd name="adj1" fmla="val 25000"/>
              <a:gd name="adj2" fmla="val 20556"/>
              <a:gd name="adj3" fmla="val 25000"/>
              <a:gd name="adj4" fmla="val 4375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F280656-2D15-9318-7164-7CD269CBBAB3}"/>
              </a:ext>
            </a:extLst>
          </p:cNvPr>
          <p:cNvSpPr txBox="1"/>
          <p:nvPr/>
        </p:nvSpPr>
        <p:spPr>
          <a:xfrm>
            <a:off x="5241571" y="7787563"/>
            <a:ext cx="3392752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Provision of CCF via 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1A4B2B1-18E2-6B5B-750C-99A89912E8E4}"/>
              </a:ext>
            </a:extLst>
          </p:cNvPr>
          <p:cNvSpPr txBox="1"/>
          <p:nvPr/>
        </p:nvSpPr>
        <p:spPr>
          <a:xfrm>
            <a:off x="5257890" y="8575983"/>
            <a:ext cx="3992950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integrated Carbon Accounting Modu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9D7FF1-E9AB-97D9-6D23-F59D7B46C681}"/>
              </a:ext>
            </a:extLst>
          </p:cNvPr>
          <p:cNvSpPr txBox="1"/>
          <p:nvPr/>
        </p:nvSpPr>
        <p:spPr>
          <a:xfrm>
            <a:off x="2781032" y="6772041"/>
            <a:ext cx="3865095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"/>
                <a:cs typeface="Helvetica Neue"/>
                <a:sym typeface="Helvetica Neue"/>
              </a:rPr>
              <a:t>Regularly updated</a:t>
            </a:r>
          </a:p>
        </p:txBody>
      </p:sp>
      <p:sp>
        <p:nvSpPr>
          <p:cNvPr id="5" name="Rechteckiger Pfeil 24">
            <a:extLst>
              <a:ext uri="{FF2B5EF4-FFF2-40B4-BE49-F238E27FC236}">
                <a16:creationId xmlns:a16="http://schemas.microsoft.com/office/drawing/2014/main" id="{59CEEBA4-DAD9-3812-B2B4-58E332B9AE7B}"/>
              </a:ext>
            </a:extLst>
          </p:cNvPr>
          <p:cNvSpPr/>
          <p:nvPr/>
        </p:nvSpPr>
        <p:spPr>
          <a:xfrm rot="10800000">
            <a:off x="16005080" y="7457479"/>
            <a:ext cx="4461216" cy="1205546"/>
          </a:xfrm>
          <a:prstGeom prst="bentArrow">
            <a:avLst>
              <a:gd name="adj1" fmla="val 25000"/>
              <a:gd name="adj2" fmla="val 20556"/>
              <a:gd name="adj3" fmla="val 25000"/>
              <a:gd name="adj4" fmla="val 4375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" panose="020B0503030300000000" pitchFamily="34" charset="0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8679803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6" grpId="0"/>
      <p:bldP spid="7" grpId="0"/>
      <p:bldP spid="9" grpId="0"/>
      <p:bldP spid="10" grpId="0"/>
      <p:bldP spid="11" grpId="0"/>
      <p:bldP spid="12" grpId="0"/>
      <p:bldP spid="13" grpId="0"/>
      <p:bldP spid="15" grpId="0"/>
      <p:bldP spid="16" grpId="0"/>
      <p:bldP spid="17" grpId="0"/>
      <p:bldP spid="18" grpId="0"/>
      <p:bldP spid="19" grpId="0"/>
      <p:bldP spid="20" grpId="0"/>
      <p:bldP spid="23" grpId="0"/>
      <p:bldP spid="25" grpId="0" animBg="1"/>
      <p:bldP spid="26" grpId="0"/>
      <p:bldP spid="27" grpId="0"/>
      <p:bldP spid="3" grpId="0"/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276A7B-99F1-F187-E9FD-E0B6FE31D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E6FF8BED-C434-0015-244B-47E71A3B9B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52138" y="4300680"/>
            <a:ext cx="1826514" cy="429768"/>
          </a:xfrm>
          <a:prstGeom prst="rect">
            <a:avLst/>
          </a:prstGeom>
        </p:spPr>
      </p:pic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B2E7C38-2A43-DDE7-1BB5-79AAAAE23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4216" y="8121644"/>
            <a:ext cx="1826514" cy="429768"/>
          </a:xfrm>
          <a:prstGeom prst="rect">
            <a:avLst/>
          </a:prstGeom>
        </p:spPr>
      </p:pic>
      <p:sp>
        <p:nvSpPr>
          <p:cNvPr id="62" name="Google Shape;112;p27">
            <a:extLst>
              <a:ext uri="{FF2B5EF4-FFF2-40B4-BE49-F238E27FC236}">
                <a16:creationId xmlns:a16="http://schemas.microsoft.com/office/drawing/2014/main" id="{42970C5B-AF02-8319-931D-E5BC1398C892}"/>
              </a:ext>
            </a:extLst>
          </p:cNvPr>
          <p:cNvSpPr txBox="1"/>
          <p:nvPr/>
        </p:nvSpPr>
        <p:spPr>
          <a:xfrm>
            <a:off x="2341470" y="8015278"/>
            <a:ext cx="5389234" cy="57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cs typeface="Suisse Int'l Mono"/>
                <a:sym typeface="Suisse Int'l Mono"/>
              </a:rPr>
              <a:t>Economic analysis</a:t>
            </a:r>
          </a:p>
        </p:txBody>
      </p:sp>
      <p:sp>
        <p:nvSpPr>
          <p:cNvPr id="63" name="Google Shape;112;p27">
            <a:extLst>
              <a:ext uri="{FF2B5EF4-FFF2-40B4-BE49-F238E27FC236}">
                <a16:creationId xmlns:a16="http://schemas.microsoft.com/office/drawing/2014/main" id="{CE739578-6E51-034A-5B89-005F52609A7A}"/>
              </a:ext>
            </a:extLst>
          </p:cNvPr>
          <p:cNvSpPr txBox="1"/>
          <p:nvPr/>
        </p:nvSpPr>
        <p:spPr>
          <a:xfrm>
            <a:off x="2341470" y="8638605"/>
            <a:ext cx="8185639" cy="1590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t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Determination of the induced production in €/$ in all industries and countries worldwide</a:t>
            </a:r>
          </a:p>
        </p:txBody>
      </p:sp>
      <p:sp>
        <p:nvSpPr>
          <p:cNvPr id="6" name="Abgerundetes Rechteck">
            <a:extLst>
              <a:ext uri="{FF2B5EF4-FFF2-40B4-BE49-F238E27FC236}">
                <a16:creationId xmlns:a16="http://schemas.microsoft.com/office/drawing/2014/main" id="{F35CBD43-3325-273C-B8FB-5431393B8044}"/>
              </a:ext>
            </a:extLst>
          </p:cNvPr>
          <p:cNvSpPr/>
          <p:nvPr/>
        </p:nvSpPr>
        <p:spPr>
          <a:xfrm>
            <a:off x="1351492" y="8020193"/>
            <a:ext cx="632671" cy="632670"/>
          </a:xfrm>
          <a:prstGeom prst="roundRect">
            <a:avLst>
              <a:gd name="adj" fmla="val 9583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2</a:t>
            </a:r>
          </a:p>
        </p:txBody>
      </p:sp>
      <p:sp>
        <p:nvSpPr>
          <p:cNvPr id="64" name="Google Shape;112;p27">
            <a:extLst>
              <a:ext uri="{FF2B5EF4-FFF2-40B4-BE49-F238E27FC236}">
                <a16:creationId xmlns:a16="http://schemas.microsoft.com/office/drawing/2014/main" id="{B747916B-2DB8-599C-4F01-8FB0CFAF7E63}"/>
              </a:ext>
            </a:extLst>
          </p:cNvPr>
          <p:cNvSpPr txBox="1"/>
          <p:nvPr/>
        </p:nvSpPr>
        <p:spPr>
          <a:xfrm>
            <a:off x="14023056" y="4215332"/>
            <a:ext cx="4181692" cy="57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cs typeface="Suisse Int'l Mono"/>
                <a:sym typeface="Suisse Int'l Mono"/>
              </a:rPr>
              <a:t>Sustainability analysis</a:t>
            </a:r>
          </a:p>
        </p:txBody>
      </p:sp>
      <p:sp>
        <p:nvSpPr>
          <p:cNvPr id="65" name="Google Shape;112;p27">
            <a:extLst>
              <a:ext uri="{FF2B5EF4-FFF2-40B4-BE49-F238E27FC236}">
                <a16:creationId xmlns:a16="http://schemas.microsoft.com/office/drawing/2014/main" id="{B1268CC0-46D5-E6F1-43BD-BBC33AE05A2D}"/>
              </a:ext>
            </a:extLst>
          </p:cNvPr>
          <p:cNvSpPr txBox="1"/>
          <p:nvPr/>
        </p:nvSpPr>
        <p:spPr>
          <a:xfrm>
            <a:off x="14023056" y="4816506"/>
            <a:ext cx="9000069" cy="16014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t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Calculation of supply chain impacts and risks by combining induced production (in €/$) with specific impact/risk factors per €/$ for each product and country</a:t>
            </a:r>
          </a:p>
        </p:txBody>
      </p:sp>
      <p:sp>
        <p:nvSpPr>
          <p:cNvPr id="7" name="Abgerundetes Rechteck">
            <a:extLst>
              <a:ext uri="{FF2B5EF4-FFF2-40B4-BE49-F238E27FC236}">
                <a16:creationId xmlns:a16="http://schemas.microsoft.com/office/drawing/2014/main" id="{7EB78972-60D9-0FDF-9292-4EACFDC5B4B2}"/>
              </a:ext>
            </a:extLst>
          </p:cNvPr>
          <p:cNvSpPr/>
          <p:nvPr/>
        </p:nvSpPr>
        <p:spPr>
          <a:xfrm>
            <a:off x="13033078" y="4220247"/>
            <a:ext cx="632671" cy="632670"/>
          </a:xfrm>
          <a:prstGeom prst="roundRect">
            <a:avLst>
              <a:gd name="adj" fmla="val 9583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3</a:t>
            </a:r>
          </a:p>
        </p:txBody>
      </p:sp>
      <p:sp>
        <p:nvSpPr>
          <p:cNvPr id="60" name="Google Shape;112;p27">
            <a:extLst>
              <a:ext uri="{FF2B5EF4-FFF2-40B4-BE49-F238E27FC236}">
                <a16:creationId xmlns:a16="http://schemas.microsoft.com/office/drawing/2014/main" id="{CC6BA0AA-CE18-3E9F-8774-CA4572F2DFA5}"/>
              </a:ext>
            </a:extLst>
          </p:cNvPr>
          <p:cNvSpPr txBox="1"/>
          <p:nvPr/>
        </p:nvSpPr>
        <p:spPr>
          <a:xfrm>
            <a:off x="14025251" y="8007148"/>
            <a:ext cx="5876131" cy="57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cs typeface="Suisse Int'l Mono"/>
                <a:sym typeface="Suisse Int'l Mono"/>
              </a:rPr>
              <a:t>Analytics of supply chain impacts</a:t>
            </a:r>
          </a:p>
        </p:txBody>
      </p:sp>
      <p:sp>
        <p:nvSpPr>
          <p:cNvPr id="61" name="Google Shape;112;p27">
            <a:extLst>
              <a:ext uri="{FF2B5EF4-FFF2-40B4-BE49-F238E27FC236}">
                <a16:creationId xmlns:a16="http://schemas.microsoft.com/office/drawing/2014/main" id="{37E30B54-6498-9A1F-5DEB-579098132B6B}"/>
              </a:ext>
            </a:extLst>
          </p:cNvPr>
          <p:cNvSpPr txBox="1"/>
          <p:nvPr/>
        </p:nvSpPr>
        <p:spPr>
          <a:xfrm>
            <a:off x="14025251" y="8608321"/>
            <a:ext cx="8189554" cy="1590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t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Analysing … </a:t>
            </a:r>
          </a:p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impact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3C6DF5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|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risk structure by product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3C6DF5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|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country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7D0FE7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|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tier step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3C6DF5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|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industry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3C6DF5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|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business unit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3C6DF5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|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supplier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3C6DF5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|</a:t>
            </a:r>
          </a:p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… </a:t>
            </a: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with common tools</a:t>
            </a:r>
          </a:p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 panose="020B0403030300000000" pitchFamily="34" charset="0"/>
              <a:cs typeface="Suisse Int'l Mono"/>
              <a:sym typeface="Suisse Int'l Mono"/>
            </a:endParaRP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91065BF7-F2D6-B1F7-BB7E-B95D508D01A2}"/>
              </a:ext>
            </a:extLst>
          </p:cNvPr>
          <p:cNvGrpSpPr/>
          <p:nvPr/>
        </p:nvGrpSpPr>
        <p:grpSpPr>
          <a:xfrm>
            <a:off x="14389673" y="10624974"/>
            <a:ext cx="6951251" cy="1824161"/>
            <a:chOff x="1875312" y="11378794"/>
            <a:chExt cx="6909414" cy="1890013"/>
          </a:xfrm>
        </p:grpSpPr>
        <p:pic>
          <p:nvPicPr>
            <p:cNvPr id="91" name="Picture 4" descr="Medienkit-Downloadcenter">
              <a:extLst>
                <a:ext uri="{FF2B5EF4-FFF2-40B4-BE49-F238E27FC236}">
                  <a16:creationId xmlns:a16="http://schemas.microsoft.com/office/drawing/2014/main" id="{3EE95F5B-E9EE-CF4D-2233-5E1226524F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5312" y="11684794"/>
              <a:ext cx="2070544" cy="4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2" name="Picture 10">
              <a:extLst>
                <a:ext uri="{FF2B5EF4-FFF2-40B4-BE49-F238E27FC236}">
                  <a16:creationId xmlns:a16="http://schemas.microsoft.com/office/drawing/2014/main" id="{40FA8CEB-2772-1659-63E1-05643EB071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4726" y="11378794"/>
              <a:ext cx="1080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744B8916-6F54-2317-D9D8-5EAB8DEE72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17346" y="12281879"/>
              <a:ext cx="1825816" cy="986928"/>
            </a:xfrm>
            <a:prstGeom prst="rect">
              <a:avLst/>
            </a:prstGeom>
          </p:spPr>
        </p:pic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44B81775-AC76-ED82-7D17-70E5EF3B7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5291" y="11684794"/>
              <a:ext cx="2340000" cy="468000"/>
            </a:xfrm>
            <a:prstGeom prst="rect">
              <a:avLst/>
            </a:prstGeom>
          </p:spPr>
        </p:pic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5F746005-F2F8-715B-082D-CD4F0CAF276B}"/>
                </a:ext>
              </a:extLst>
            </p:cNvPr>
            <p:cNvSpPr txBox="1"/>
            <p:nvPr/>
          </p:nvSpPr>
          <p:spPr>
            <a:xfrm>
              <a:off x="4919907" y="12331123"/>
              <a:ext cx="3110223" cy="7440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none" lIns="50797" tIns="50797" rIns="50797" bIns="50797" numCol="1" spcCol="38100" rtlCol="0" anchor="ctr">
              <a:spAutoFit/>
            </a:bodyPr>
            <a:lstStyle/>
            <a:p>
              <a:pPr marL="0" marR="0" lvl="0" indent="0" algn="ctr" defTabSz="2438216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eonik Light" panose="020B0403030300000000" pitchFamily="34" charset="0"/>
                  <a:ea typeface="Helvetica Neue"/>
                  <a:cs typeface="Helvetica Neue"/>
                  <a:sym typeface="Helvetica Neue"/>
                </a:rPr>
                <a:t>… other BI / sustainability / </a:t>
              </a:r>
              <a:br>
                <a: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eonik Light" panose="020B0403030300000000" pitchFamily="34" charset="0"/>
                  <a:ea typeface="Helvetica Neue"/>
                  <a:cs typeface="Helvetica Neue"/>
                  <a:sym typeface="Helvetica Neue"/>
                </a:rPr>
              </a:br>
              <a:r>
                <a: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eonik Light" panose="020B0403030300000000" pitchFamily="34" charset="0"/>
                  <a:ea typeface="Helvetica Neue"/>
                  <a:cs typeface="Helvetica Neue"/>
                  <a:sym typeface="Helvetica Neue"/>
                </a:rPr>
                <a:t>business software</a:t>
              </a:r>
            </a:p>
          </p:txBody>
        </p:sp>
      </p:grpSp>
      <p:sp>
        <p:nvSpPr>
          <p:cNvPr id="8" name="Abgerundetes Rechteck">
            <a:extLst>
              <a:ext uri="{FF2B5EF4-FFF2-40B4-BE49-F238E27FC236}">
                <a16:creationId xmlns:a16="http://schemas.microsoft.com/office/drawing/2014/main" id="{66F4188C-9331-2D80-EBDE-F88C87F95292}"/>
              </a:ext>
            </a:extLst>
          </p:cNvPr>
          <p:cNvSpPr/>
          <p:nvPr/>
        </p:nvSpPr>
        <p:spPr>
          <a:xfrm>
            <a:off x="13033078" y="8012063"/>
            <a:ext cx="632671" cy="632670"/>
          </a:xfrm>
          <a:prstGeom prst="roundRect">
            <a:avLst>
              <a:gd name="adj" fmla="val 9583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A976CA-E118-6DBB-CD9D-9F6A9A073E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The calculation of supply chain impacts with </a:t>
            </a:r>
            <a:r>
              <a:rPr lang="en-GB" err="1"/>
              <a:t>item+s</a:t>
            </a:r>
            <a:r>
              <a:rPr lang="en-GB"/>
              <a:t> follows a clear pathway.</a:t>
            </a:r>
          </a:p>
        </p:txBody>
      </p:sp>
      <p:sp>
        <p:nvSpPr>
          <p:cNvPr id="54" name="Google Shape;112;p27">
            <a:extLst>
              <a:ext uri="{FF2B5EF4-FFF2-40B4-BE49-F238E27FC236}">
                <a16:creationId xmlns:a16="http://schemas.microsoft.com/office/drawing/2014/main" id="{652C2DB9-F6DD-2192-6DC5-12DF1BC50C6F}"/>
              </a:ext>
            </a:extLst>
          </p:cNvPr>
          <p:cNvSpPr txBox="1"/>
          <p:nvPr/>
        </p:nvSpPr>
        <p:spPr>
          <a:xfrm>
            <a:off x="2337555" y="4221539"/>
            <a:ext cx="9151834" cy="57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7" tIns="50797" rIns="50797" bIns="50797" anchor="ctr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1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" panose="020B0503030300000000" pitchFamily="34" charset="0"/>
                <a:cs typeface="Suisse Int'l Mono"/>
                <a:sym typeface="Suisse Int'l Mono"/>
              </a:rPr>
              <a:t>Mapping procurement data to model</a:t>
            </a:r>
          </a:p>
        </p:txBody>
      </p:sp>
      <p:sp>
        <p:nvSpPr>
          <p:cNvPr id="55" name="Google Shape;112;p27">
            <a:extLst>
              <a:ext uri="{FF2B5EF4-FFF2-40B4-BE49-F238E27FC236}">
                <a16:creationId xmlns:a16="http://schemas.microsoft.com/office/drawing/2014/main" id="{E90F4DD6-3AA9-BCD0-F4C4-38544D8A8C1A}"/>
              </a:ext>
            </a:extLst>
          </p:cNvPr>
          <p:cNvSpPr txBox="1"/>
          <p:nvPr/>
        </p:nvSpPr>
        <p:spPr>
          <a:xfrm>
            <a:off x="2337555" y="4844866"/>
            <a:ext cx="7742260" cy="1590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797" tIns="50797" rIns="50797" bIns="50797" anchor="t"/>
          <a:lstStyle>
            <a:lvl1pPr algn="l" defTabSz="2438400">
              <a:lnSpc>
                <a:spcPct val="130000"/>
              </a:lnSpc>
              <a:defRPr>
                <a:solidFill>
                  <a:srgbClr val="000000"/>
                </a:solidFill>
                <a:latin typeface="Suisse Int'l Mono"/>
                <a:ea typeface="Suisse Int'l Mono"/>
                <a:cs typeface="Suisse Int'l Mono"/>
                <a:sym typeface="Suisse Int'l Mono"/>
              </a:defRPr>
            </a:lvl1pPr>
          </a:lstStyle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Linking procurement data with emission factors from our multi-regional analytical model </a:t>
            </a:r>
            <a:r>
              <a:rPr kumimoji="0" lang="en-GB" sz="2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Light" panose="020B0403030300000000" pitchFamily="34" charset="0"/>
                <a:cs typeface="Suisse Int'l Mono"/>
                <a:sym typeface="Suisse Int'l Mono"/>
              </a:rPr>
              <a:t>item+s</a:t>
            </a:r>
            <a:endParaRPr kumimoji="0" lang="en-GB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 panose="020B0403030300000000" pitchFamily="34" charset="0"/>
              <a:cs typeface="Suisse Int'l Mono"/>
              <a:sym typeface="Suisse Int'l Mono"/>
            </a:endParaRPr>
          </a:p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 panose="020B0403030300000000" pitchFamily="34" charset="0"/>
              <a:cs typeface="Suisse Int'l Mono"/>
              <a:sym typeface="Suisse Int'l Mono"/>
            </a:endParaRPr>
          </a:p>
          <a:p>
            <a:pPr marL="0" marR="0" lvl="0" indent="0" algn="l" defTabSz="2438278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 panose="020B0403030300000000" pitchFamily="34" charset="0"/>
              <a:cs typeface="Suisse Int'l Mono"/>
              <a:sym typeface="Suisse Int'l Mono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C4DF5461-6D23-03E2-00C5-CADEC7E7AF81}"/>
              </a:ext>
            </a:extLst>
          </p:cNvPr>
          <p:cNvSpPr txBox="1"/>
          <p:nvPr/>
        </p:nvSpPr>
        <p:spPr>
          <a:xfrm>
            <a:off x="2187912" y="5909280"/>
            <a:ext cx="3525473" cy="1343178"/>
          </a:xfrm>
          <a:prstGeom prst="rect">
            <a:avLst/>
          </a:prstGeom>
          <a:noFill/>
        </p:spPr>
        <p:txBody>
          <a:bodyPr vert="horz" wrap="square" lIns="179988" tIns="93594" rIns="179988" bIns="93594" rtlCol="0" anchor="t">
            <a:spAutoFit/>
          </a:bodyPr>
          <a:lstStyle/>
          <a:p>
            <a:pPr marL="0" marR="0" lvl="0" indent="0" algn="r" defTabSz="2438216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ea typeface="Helvetica Neue"/>
                <a:cs typeface="Helvetica Neue"/>
                <a:sym typeface="Helvetica Neue"/>
              </a:rPr>
              <a:t>Procurement categories </a:t>
            </a:r>
          </a:p>
          <a:p>
            <a:pPr marL="0" marR="0" lvl="0" indent="0" algn="r" defTabSz="2438216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ea typeface="Helvetica Neue"/>
                <a:cs typeface="Helvetica Neue"/>
                <a:sym typeface="Helvetica Neue"/>
              </a:rPr>
              <a:t>from ERP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44E4F478-B5EF-C327-7E06-0F29F8028322}"/>
              </a:ext>
            </a:extLst>
          </p:cNvPr>
          <p:cNvSpPr txBox="1"/>
          <p:nvPr/>
        </p:nvSpPr>
        <p:spPr>
          <a:xfrm>
            <a:off x="6714587" y="5901011"/>
            <a:ext cx="3467832" cy="958457"/>
          </a:xfrm>
          <a:prstGeom prst="rect">
            <a:avLst/>
          </a:prstGeom>
          <a:noFill/>
        </p:spPr>
        <p:txBody>
          <a:bodyPr vert="horz" wrap="square" lIns="179988" tIns="93594" rIns="179988" bIns="93594" rtlCol="0" anchor="t">
            <a:spAutoFit/>
          </a:bodyPr>
          <a:lstStyle/>
          <a:p>
            <a:pPr marL="0" marR="0" lvl="0" indent="0" algn="l" defTabSz="2438216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ea typeface="Helvetica Neue"/>
                <a:cs typeface="Helvetica Neue"/>
                <a:sym typeface="Helvetica Neue"/>
              </a:rPr>
              <a:t>Industries / products</a:t>
            </a:r>
          </a:p>
          <a:p>
            <a:pPr marL="0" marR="0" lvl="0" indent="0" algn="l" defTabSz="2438216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ea typeface="Helvetica Neue"/>
                <a:cs typeface="Helvetica Neue"/>
                <a:sym typeface="Helvetica Neue"/>
              </a:rPr>
              <a:t>of </a:t>
            </a:r>
            <a:r>
              <a:rPr kumimoji="0" lang="en-US" sz="2500" b="0" i="0" u="none" strike="noStrike" kern="0" cap="none" spc="0" normalizeH="0" baseline="0" noProof="0" err="1">
                <a:ln>
                  <a:noFill/>
                </a:ln>
                <a:solidFill>
                  <a:srgbClr val="E16300">
                    <a:lumMod val="10000"/>
                  </a:srgbClr>
                </a:solidFill>
                <a:effectLst/>
                <a:uLnTx/>
                <a:uFillTx/>
                <a:latin typeface="Aeonik Light" panose="020B0403030300000000" pitchFamily="34" charset="0"/>
                <a:ea typeface="Helvetica Neue"/>
                <a:cs typeface="Helvetica Neue"/>
                <a:sym typeface="Helvetica Neue"/>
              </a:rPr>
              <a:t>item+s</a:t>
            </a:r>
            <a:endParaRPr kumimoji="0" lang="en-US" sz="2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eonik Light" panose="020B0403030300000000" pitchFamily="3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" name="→">
            <a:extLst>
              <a:ext uri="{FF2B5EF4-FFF2-40B4-BE49-F238E27FC236}">
                <a16:creationId xmlns:a16="http://schemas.microsoft.com/office/drawing/2014/main" id="{E058059E-179A-ACA2-4FB9-DE370B851A5A}"/>
              </a:ext>
            </a:extLst>
          </p:cNvPr>
          <p:cNvSpPr txBox="1"/>
          <p:nvPr/>
        </p:nvSpPr>
        <p:spPr>
          <a:xfrm>
            <a:off x="5941435" y="5954732"/>
            <a:ext cx="545102" cy="5196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7" tIns="50797" rIns="50797" bIns="50797">
            <a:spAutoFit/>
          </a:bodyPr>
          <a:lstStyle>
            <a:lvl1pPr algn="l" defTabSz="457200">
              <a:lnSpc>
                <a:spcPct val="120000"/>
              </a:lnSpc>
              <a:defRPr sz="7000">
                <a:solidFill>
                  <a:srgbClr val="000000"/>
                </a:solidFill>
                <a:latin typeface="Aeonik Medium"/>
                <a:ea typeface="Aeonik Medium"/>
                <a:cs typeface="Aeonik Medium"/>
                <a:sym typeface="Aeonik Medium"/>
              </a:defRPr>
            </a:lvl1pPr>
          </a:lstStyle>
          <a:p>
            <a:pPr marL="0" marR="0" lvl="0" indent="0" algn="ctr" defTabSz="4572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 Medium"/>
                <a:sym typeface="Aeonik Medium"/>
              </a:rPr>
              <a:t>→</a:t>
            </a:r>
          </a:p>
        </p:txBody>
      </p:sp>
      <p:sp>
        <p:nvSpPr>
          <p:cNvPr id="5" name="Abgerundetes Rechteck">
            <a:extLst>
              <a:ext uri="{FF2B5EF4-FFF2-40B4-BE49-F238E27FC236}">
                <a16:creationId xmlns:a16="http://schemas.microsoft.com/office/drawing/2014/main" id="{9D1E53CF-A9CB-8FF4-57B7-A76DFBF16012}"/>
              </a:ext>
            </a:extLst>
          </p:cNvPr>
          <p:cNvSpPr/>
          <p:nvPr/>
        </p:nvSpPr>
        <p:spPr>
          <a:xfrm>
            <a:off x="1345383" y="4226454"/>
            <a:ext cx="632671" cy="632670"/>
          </a:xfrm>
          <a:prstGeom prst="roundRect">
            <a:avLst>
              <a:gd name="adj" fmla="val 9583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50797" tIns="50797" rIns="50797" bIns="50797" numCol="1" anchor="ctr">
            <a:noAutofit/>
          </a:bodyPr>
          <a:lstStyle/>
          <a:p>
            <a:pPr marL="0" marR="0" lvl="0" indent="0" algn="ctr" defTabSz="8254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3C6DF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kumimoji="0" lang="en-US" sz="2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eonik" panose="020B0503030300000000" pitchFamily="34" charset="0"/>
                <a:ea typeface="Helvetica Neue Medium"/>
                <a:cs typeface="Helvetica Neue Medium"/>
                <a:sym typeface="Helvetica Neue Medium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95063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3" grpId="0" animBg="1"/>
      <p:bldP spid="64" grpId="0" animBg="1"/>
      <p:bldP spid="65" grpId="0" animBg="1"/>
      <p:bldP spid="60" grpId="0" animBg="1"/>
      <p:bldP spid="6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1F26B-443A-B53E-9690-FE219583AFD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0747" y="957600"/>
            <a:ext cx="22740895" cy="1152000"/>
          </a:xfrm>
        </p:spPr>
        <p:txBody>
          <a:bodyPr/>
          <a:lstStyle/>
          <a:p>
            <a:r>
              <a:rPr lang="en-US" sz="4000">
                <a:effectLst/>
                <a:latin typeface="Siemens Sans" pitchFamily="2" charset="0"/>
              </a:rPr>
              <a:t>We empower our customers to become more competitive, resilient, and sustainable</a:t>
            </a:r>
            <a:endParaRPr lang="en-US">
              <a:latin typeface="Siemens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55A899-19A7-E1CD-5387-272CF26A48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56709181-DD3B-1065-D2CE-88250E5EEC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0748" y="3149287"/>
            <a:ext cx="18430798" cy="9305525"/>
          </a:xfrm>
          <a:prstGeom prst="rect">
            <a:avLst/>
          </a:prstGeom>
        </p:spPr>
      </p:pic>
      <p:cxnSp>
        <p:nvCxnSpPr>
          <p:cNvPr id="68" name="Gerade Verbindung mit Pfeil 4">
            <a:extLst>
              <a:ext uri="{FF2B5EF4-FFF2-40B4-BE49-F238E27FC236}">
                <a16:creationId xmlns:a16="http://schemas.microsoft.com/office/drawing/2014/main" id="{DBA1D904-19EF-4A93-ED4B-6D74AFEE10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9831946" y="3259965"/>
            <a:ext cx="0" cy="8648499"/>
          </a:xfrm>
          <a:prstGeom prst="straightConnector1">
            <a:avLst/>
          </a:prstGeom>
          <a:ln w="50800">
            <a:solidFill>
              <a:srgbClr val="00C1B6"/>
            </a:solidFill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C4BD5E02-C012-D4E2-A9EB-90098B4346B1}"/>
              </a:ext>
            </a:extLst>
          </p:cNvPr>
          <p:cNvGrpSpPr/>
          <p:nvPr/>
        </p:nvGrpSpPr>
        <p:grpSpPr>
          <a:xfrm>
            <a:off x="20547456" y="3259966"/>
            <a:ext cx="3014193" cy="8648498"/>
            <a:chOff x="20547457" y="3259966"/>
            <a:chExt cx="2759590" cy="6188070"/>
          </a:xfrm>
        </p:grpSpPr>
        <p:sp>
          <p:nvSpPr>
            <p:cNvPr id="64" name="Rechteck 13">
              <a:extLst>
                <a:ext uri="{FF2B5EF4-FFF2-40B4-BE49-F238E27FC236}">
                  <a16:creationId xmlns:a16="http://schemas.microsoft.com/office/drawing/2014/main" id="{DC13EFD8-3EF9-8BA4-804C-3E3A1827B059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20547458" y="3259966"/>
              <a:ext cx="2759589" cy="1915648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26000" rIns="144000" bIns="126000" rtlCol="0" anchor="t" anchorCtr="0"/>
            <a:lstStyle/>
            <a:p>
              <a:pPr lvl="0" algn="l">
                <a:spcBef>
                  <a:spcPts val="0"/>
                </a:spcBef>
                <a:defRPr/>
              </a:pPr>
              <a:r>
                <a:rPr lang="en-US" b="1" spc="-150">
                  <a:solidFill>
                    <a:srgbClr val="00C1B6"/>
                  </a:solidFill>
                  <a:latin typeface="Siemens Sans" pitchFamily="2" charset="0"/>
                </a:rPr>
                <a:t>312,000</a:t>
              </a:r>
            </a:p>
            <a:p>
              <a:pPr algn="l"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cs typeface="Arial" panose="020B0604020202020204" pitchFamily="34" charset="-128"/>
              </a:endParaRPr>
            </a:p>
            <a:p>
              <a:pPr algn="l"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cs typeface="Arial" panose="020B0604020202020204" pitchFamily="34" charset="-128"/>
              </a:endParaRPr>
            </a:p>
            <a:p>
              <a:pPr algn="l">
                <a:defRPr/>
              </a:pPr>
              <a:endParaRPr lang="en-US" sz="2000">
                <a:solidFill>
                  <a:prstClr val="white"/>
                </a:solidFill>
                <a:latin typeface="Siemens Sans" pitchFamily="2" charset="0"/>
                <a:cs typeface="Arial" panose="020B0604020202020204" pitchFamily="34" charset="-128"/>
              </a:endParaRPr>
            </a:p>
            <a:p>
              <a:pPr algn="l"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emens Sans" pitchFamily="2" charset="0"/>
                  <a:cs typeface="Arial" panose="020B0604020202020204" pitchFamily="34" charset="-128"/>
                </a:rPr>
                <a:t>Employees</a:t>
              </a:r>
              <a:endParaRPr kumimoji="0" lang="en-US" sz="2000" b="0" i="0" u="none" strike="noStrike" kern="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cs typeface="Arial" panose="020B0604020202020204" pitchFamily="34" charset="-128"/>
              </a:endParaRPr>
            </a:p>
          </p:txBody>
        </p:sp>
        <p:sp>
          <p:nvSpPr>
            <p:cNvPr id="65" name="Rechteck 16">
              <a:extLst>
                <a:ext uri="{FF2B5EF4-FFF2-40B4-BE49-F238E27FC236}">
                  <a16:creationId xmlns:a16="http://schemas.microsoft.com/office/drawing/2014/main" id="{6629B89B-C1F3-3794-15F5-7B65B312D9F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20547457" y="5449952"/>
              <a:ext cx="2759589" cy="1915648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26000" rIns="144000" bIns="126000" rtlCol="0" anchor="t" anchorCtr="0"/>
            <a:lstStyle/>
            <a:p>
              <a:pPr lvl="0" algn="l">
                <a:spcBef>
                  <a:spcPts val="0"/>
                </a:spcBef>
                <a:defRPr/>
              </a:pPr>
              <a:r>
                <a:rPr lang="en-US" b="1" spc="-150">
                  <a:solidFill>
                    <a:srgbClr val="00C1B6"/>
                  </a:solidFill>
                  <a:latin typeface="Siemens Sans" pitchFamily="2" charset="0"/>
                </a:rPr>
                <a:t>€75.9 bn</a:t>
              </a:r>
            </a:p>
            <a:p>
              <a:pPr algn="l"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</a:endParaRPr>
            </a:p>
            <a:p>
              <a:pPr algn="l"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</a:endParaRPr>
            </a:p>
            <a:p>
              <a:pPr algn="l">
                <a:defRPr/>
              </a:pPr>
              <a:endParaRPr lang="en-US" sz="2000">
                <a:solidFill>
                  <a:srgbClr val="FFFFFF"/>
                </a:solidFill>
                <a:latin typeface="Siemens Sans" pitchFamily="2" charset="0"/>
              </a:endParaRPr>
            </a:p>
            <a:p>
              <a:pPr algn="l"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emens Sans" pitchFamily="2" charset="0"/>
                </a:rPr>
                <a:t>Revenue</a:t>
              </a:r>
              <a:endParaRPr kumimoji="0" lang="en-US" sz="2000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</a:endParaRPr>
            </a:p>
          </p:txBody>
        </p:sp>
        <p:sp>
          <p:nvSpPr>
            <p:cNvPr id="71" name="Rechteck 17">
              <a:extLst>
                <a:ext uri="{FF2B5EF4-FFF2-40B4-BE49-F238E27FC236}">
                  <a16:creationId xmlns:a16="http://schemas.microsoft.com/office/drawing/2014/main" id="{A3E3FDC1-D4B0-CDE7-EED8-70C4AAC82C67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20547457" y="7532388"/>
              <a:ext cx="2759589" cy="1915648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26000" rIns="144000" bIns="126000" rtlCol="0" anchor="t" anchorCtr="0"/>
            <a:lstStyle/>
            <a:p>
              <a:pPr lvl="0" algn="l">
                <a:spcBef>
                  <a:spcPts val="0"/>
                </a:spcBef>
                <a:defRPr/>
              </a:pPr>
              <a:r>
                <a:rPr lang="en-US" b="1" spc="-150">
                  <a:solidFill>
                    <a:srgbClr val="00C1B6"/>
                  </a:solidFill>
                  <a:latin typeface="Siemens Sans" pitchFamily="2" charset="0"/>
                </a:rPr>
                <a:t>€9.0 bn</a:t>
              </a:r>
            </a:p>
            <a:p>
              <a:pPr algn="l"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</a:endParaRPr>
            </a:p>
            <a:p>
              <a:pPr algn="l"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</a:endParaRPr>
            </a:p>
            <a:p>
              <a:pPr algn="l"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</a:endParaRPr>
            </a:p>
            <a:p>
              <a:pPr algn="l"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emens Sans" pitchFamily="2" charset="0"/>
                </a:rPr>
                <a:t>Net income</a:t>
              </a:r>
              <a:endParaRPr kumimoji="0" lang="en-US" sz="2000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</a:endParaRPr>
            </a:p>
          </p:txBody>
        </p:sp>
      </p:grp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181702AE-B065-F87C-F763-5EA9FF620D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118182" y="12621600"/>
            <a:ext cx="18430800" cy="1094400"/>
          </a:xfrm>
        </p:spPr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</p:spTree>
    <p:extLst>
      <p:ext uri="{BB962C8B-B14F-4D97-AF65-F5344CB8AC3E}">
        <p14:creationId xmlns:p14="http://schemas.microsoft.com/office/powerpoint/2010/main" val="2011105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8DBBB6-7E4C-4479-AAA3-C798EBAC1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F0DCC-C85D-BBFC-F151-BDB29A9790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 marL="0" marR="0" algn="l"/>
            <a:r>
              <a:rPr lang="en-US" sz="4000">
                <a:effectLst/>
                <a:latin typeface="Siemens Sans" pitchFamily="2" charset="0"/>
              </a:rPr>
              <a:t>Well on track to achieve net-zero for own operations by 2030 and intensively working towards net-zero by 2050 in our scope 3</a:t>
            </a:r>
            <a:endParaRPr lang="en-US" sz="2800">
              <a:effectLst/>
              <a:latin typeface="Siemens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A7EB5B-5AA3-167B-F552-146C4301EF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BECEBD97-E658-4249-9871-581993FFB099}"/>
              </a:ext>
            </a:extLst>
          </p:cNvPr>
          <p:cNvCxnSpPr>
            <a:cxnSpLocks/>
          </p:cNvCxnSpPr>
          <p:nvPr/>
        </p:nvCxnSpPr>
        <p:spPr>
          <a:xfrm>
            <a:off x="3850700" y="3998714"/>
            <a:ext cx="5427237" cy="0"/>
          </a:xfrm>
          <a:prstGeom prst="line">
            <a:avLst/>
          </a:prstGeom>
          <a:ln w="2857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CBCC505A-D1A0-4422-B421-15C730849C00}"/>
              </a:ext>
            </a:extLst>
          </p:cNvPr>
          <p:cNvCxnSpPr>
            <a:cxnSpLocks/>
          </p:cNvCxnSpPr>
          <p:nvPr/>
        </p:nvCxnSpPr>
        <p:spPr>
          <a:xfrm>
            <a:off x="9887179" y="3998714"/>
            <a:ext cx="5427237" cy="0"/>
          </a:xfrm>
          <a:prstGeom prst="line">
            <a:avLst/>
          </a:prstGeom>
          <a:ln w="2857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1696A92-0ABA-4215-A519-372A82627DBF}"/>
              </a:ext>
            </a:extLst>
          </p:cNvPr>
          <p:cNvCxnSpPr>
            <a:cxnSpLocks/>
          </p:cNvCxnSpPr>
          <p:nvPr/>
        </p:nvCxnSpPr>
        <p:spPr>
          <a:xfrm>
            <a:off x="15923658" y="3998714"/>
            <a:ext cx="5427237" cy="0"/>
          </a:xfrm>
          <a:prstGeom prst="line">
            <a:avLst/>
          </a:prstGeom>
          <a:ln w="2857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414D18FE-21FE-41C8-A047-1BF9740CD6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258613" y="3290006"/>
            <a:ext cx="2816477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Supply Chai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59EFB17-D5EF-46E6-8F07-119624243CB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818261" y="3290004"/>
            <a:ext cx="3565079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Own Operation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5384560-AAB6-4623-BD34-71E6A6447E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550440" y="3290002"/>
            <a:ext cx="2173672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Use Phas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EFA2CC8-8D73-4149-95D2-A9B9098A587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63912" y="10332946"/>
            <a:ext cx="3000821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Net-zero 2050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B861FE9-0598-4301-9242-5461753148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00391" y="10332946"/>
            <a:ext cx="3000821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Net-zero 2030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EC7B4EB-8C2B-47F4-9D68-50B2D0A738B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7136870" y="10332946"/>
            <a:ext cx="3000821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Net-zero 2050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312A1C16-2FBC-4586-92A1-3B14C3D5F271}"/>
              </a:ext>
            </a:extLst>
          </p:cNvPr>
          <p:cNvCxnSpPr>
            <a:cxnSpLocks/>
          </p:cNvCxnSpPr>
          <p:nvPr/>
        </p:nvCxnSpPr>
        <p:spPr>
          <a:xfrm>
            <a:off x="3850700" y="9991686"/>
            <a:ext cx="5427237" cy="0"/>
          </a:xfrm>
          <a:prstGeom prst="line">
            <a:avLst/>
          </a:prstGeom>
          <a:ln w="2857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2698F10-C825-4BA2-AF25-74507DC12868}"/>
              </a:ext>
            </a:extLst>
          </p:cNvPr>
          <p:cNvCxnSpPr>
            <a:cxnSpLocks/>
          </p:cNvCxnSpPr>
          <p:nvPr/>
        </p:nvCxnSpPr>
        <p:spPr>
          <a:xfrm>
            <a:off x="9887179" y="9991686"/>
            <a:ext cx="5427237" cy="0"/>
          </a:xfrm>
          <a:prstGeom prst="line">
            <a:avLst/>
          </a:prstGeom>
          <a:ln w="2857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C34E1740-8644-4962-A558-E0471500D3E8}"/>
              </a:ext>
            </a:extLst>
          </p:cNvPr>
          <p:cNvCxnSpPr>
            <a:cxnSpLocks/>
          </p:cNvCxnSpPr>
          <p:nvPr/>
        </p:nvCxnSpPr>
        <p:spPr>
          <a:xfrm>
            <a:off x="15923658" y="9991686"/>
            <a:ext cx="5427237" cy="0"/>
          </a:xfrm>
          <a:prstGeom prst="line">
            <a:avLst/>
          </a:prstGeom>
          <a:ln w="2857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feil: Chevron 29">
            <a:extLst>
              <a:ext uri="{FF2B5EF4-FFF2-40B4-BE49-F238E27FC236}">
                <a16:creationId xmlns:a16="http://schemas.microsoft.com/office/drawing/2014/main" id="{F5241D99-AC3A-4624-8E5F-816DDDDBE9D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5400000">
            <a:off x="6373906" y="9264329"/>
            <a:ext cx="380825" cy="1417424"/>
          </a:xfrm>
          <a:prstGeom prst="chevron">
            <a:avLst/>
          </a:prstGeom>
          <a:solidFill>
            <a:schemeClr val="accent1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874" tIns="143917" rIns="215874" bIns="143917" rtlCol="0" anchor="t" anchorCtr="0"/>
          <a:lstStyle/>
          <a:p>
            <a:pPr defTabSz="1828709" hangingPunct="1">
              <a:buClr>
                <a:srgbClr val="009999"/>
              </a:buClr>
            </a:pPr>
            <a:endParaRPr lang="en-US" sz="3598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31" name="Pfeil: Chevron 30">
            <a:extLst>
              <a:ext uri="{FF2B5EF4-FFF2-40B4-BE49-F238E27FC236}">
                <a16:creationId xmlns:a16="http://schemas.microsoft.com/office/drawing/2014/main" id="{5C361809-C2FE-41A1-A9E2-BD3A4FEBE33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5400000">
            <a:off x="12410385" y="9264331"/>
            <a:ext cx="380825" cy="1417424"/>
          </a:xfrm>
          <a:prstGeom prst="chevron">
            <a:avLst/>
          </a:prstGeom>
          <a:solidFill>
            <a:schemeClr val="accent1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874" tIns="143917" rIns="215874" bIns="143917" rtlCol="0" anchor="t" anchorCtr="0"/>
          <a:lstStyle/>
          <a:p>
            <a:pPr defTabSz="1828709" hangingPunct="1">
              <a:buClr>
                <a:srgbClr val="009999"/>
              </a:buClr>
            </a:pPr>
            <a:endParaRPr lang="en-US" sz="3598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32" name="Pfeil: Chevron 31">
            <a:extLst>
              <a:ext uri="{FF2B5EF4-FFF2-40B4-BE49-F238E27FC236}">
                <a16:creationId xmlns:a16="http://schemas.microsoft.com/office/drawing/2014/main" id="{9E68BE84-AB87-4171-8A1D-27D0AD97924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5400000">
            <a:off x="18446864" y="9276096"/>
            <a:ext cx="380825" cy="1417424"/>
          </a:xfrm>
          <a:prstGeom prst="chevron">
            <a:avLst/>
          </a:prstGeom>
          <a:solidFill>
            <a:schemeClr val="accent1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874" tIns="143917" rIns="215874" bIns="143917" rtlCol="0" anchor="t" anchorCtr="0"/>
          <a:lstStyle/>
          <a:p>
            <a:pPr defTabSz="1828709" hangingPunct="1">
              <a:buClr>
                <a:srgbClr val="009999"/>
              </a:buClr>
            </a:pPr>
            <a:endParaRPr lang="en-US" sz="3598">
              <a:solidFill>
                <a:prstClr val="white"/>
              </a:solidFill>
              <a:latin typeface="Siemens Sans" pitchFamily="2" charset="0"/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713FA2C0-F1FD-435B-B340-CDCB370A040C}"/>
              </a:ext>
            </a:extLst>
          </p:cNvPr>
          <p:cNvGrpSpPr/>
          <p:nvPr/>
        </p:nvGrpSpPr>
        <p:grpSpPr>
          <a:xfrm>
            <a:off x="16008792" y="5235850"/>
            <a:ext cx="5243029" cy="1570748"/>
            <a:chOff x="4347289" y="3791245"/>
            <a:chExt cx="2623050" cy="785834"/>
          </a:xfrm>
        </p:grpSpPr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E819DBB9-3C67-4D1E-9CB6-0BBC1B8DC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47289" y="3791246"/>
              <a:ext cx="813994" cy="785833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7050F28A-A861-430F-891D-192AA260B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5357" y="3791245"/>
              <a:ext cx="806418" cy="785834"/>
            </a:xfrm>
            <a:prstGeom prst="rect">
              <a:avLst/>
            </a:prstGeom>
            <a:solidFill>
              <a:schemeClr val="accent3"/>
            </a:solidFill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46DC21CB-EA07-4E42-8434-BA7C40F914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5849" y="3791245"/>
              <a:ext cx="834490" cy="785834"/>
            </a:xfrm>
            <a:prstGeom prst="rect">
              <a:avLst/>
            </a:prstGeom>
          </p:spPr>
        </p:pic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2EFD5A65-0715-46F9-9514-34643E81E044}"/>
              </a:ext>
            </a:extLst>
          </p:cNvPr>
          <p:cNvGrpSpPr/>
          <p:nvPr/>
        </p:nvGrpSpPr>
        <p:grpSpPr>
          <a:xfrm>
            <a:off x="9976160" y="5225234"/>
            <a:ext cx="5249274" cy="1591984"/>
            <a:chOff x="4338496" y="2957747"/>
            <a:chExt cx="2626175" cy="796459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D3543985-742E-45A5-B2C2-321BAFD196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0181" y="2957748"/>
              <a:ext cx="834490" cy="796458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791B94C7-4C15-47B4-A673-C78A5D43B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36026" y="2957748"/>
              <a:ext cx="814638" cy="788907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C434ED11-B0A2-4967-BE49-589B051FF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8496" y="2957747"/>
              <a:ext cx="818013" cy="788903"/>
            </a:xfrm>
            <a:prstGeom prst="rect">
              <a:avLst/>
            </a:prstGeom>
          </p:spPr>
        </p:pic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045478CA-85F2-4058-BD7B-F72C0372022A}"/>
              </a:ext>
            </a:extLst>
          </p:cNvPr>
          <p:cNvGrpSpPr/>
          <p:nvPr/>
        </p:nvGrpSpPr>
        <p:grpSpPr>
          <a:xfrm>
            <a:off x="4042210" y="5225231"/>
            <a:ext cx="5249276" cy="1574529"/>
            <a:chOff x="4333488" y="3839768"/>
            <a:chExt cx="2626176" cy="787726"/>
          </a:xfrm>
        </p:grpSpPr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C6ED5EA2-0481-4304-8B7F-049BF9DA8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3488" y="3841662"/>
              <a:ext cx="818013" cy="785832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2D6B2B3-0700-4059-892B-A9C5B57B68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31019" y="3839768"/>
              <a:ext cx="814637" cy="785828"/>
            </a:xfrm>
            <a:prstGeom prst="rect">
              <a:avLst/>
            </a:prstGeom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4CD7AEFA-B287-4B0C-9A97-7B449FCE2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25174" y="3839768"/>
              <a:ext cx="834490" cy="785824"/>
            </a:xfrm>
            <a:prstGeom prst="rect">
              <a:avLst/>
            </a:prstGeom>
          </p:spPr>
        </p:pic>
      </p:grpSp>
      <p:sp>
        <p:nvSpPr>
          <p:cNvPr id="53" name="Textfeld 52">
            <a:extLst>
              <a:ext uri="{FF2B5EF4-FFF2-40B4-BE49-F238E27FC236}">
                <a16:creationId xmlns:a16="http://schemas.microsoft.com/office/drawing/2014/main" id="{8F03BC13-975F-4387-93A3-21CF3B468F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850703" y="7104692"/>
            <a:ext cx="5440786" cy="14763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71185" indent="-571185" algn="l" defTabSz="1828709" hangingPunct="1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3198">
                <a:solidFill>
                  <a:prstClr val="white"/>
                </a:solidFill>
                <a:latin typeface="Siemens Sans" pitchFamily="2" charset="0"/>
              </a:rPr>
              <a:t>Purchased materials</a:t>
            </a:r>
          </a:p>
          <a:p>
            <a:pPr marL="571185" indent="-571185" algn="l" defTabSz="1828709" hangingPunct="1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3198">
                <a:solidFill>
                  <a:prstClr val="white"/>
                </a:solidFill>
                <a:latin typeface="Siemens Sans" pitchFamily="2" charset="0"/>
              </a:rPr>
              <a:t>Upstream transport</a:t>
            </a:r>
          </a:p>
          <a:p>
            <a:pPr marL="571185" indent="-571185" algn="l" defTabSz="1828709" hangingPunct="1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3198">
                <a:solidFill>
                  <a:prstClr val="white"/>
                </a:solidFill>
                <a:latin typeface="Siemens Sans" pitchFamily="2" charset="0"/>
              </a:rPr>
              <a:t>Business travel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2E3C1A2-C8C4-455D-A543-D9CCC19DE97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9948810" y="7109085"/>
            <a:ext cx="5440786" cy="1968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71185" indent="-571185" algn="l" defTabSz="1828709" hangingPunct="1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3198">
                <a:solidFill>
                  <a:prstClr val="white"/>
                </a:solidFill>
                <a:latin typeface="Siemens Sans" pitchFamily="2" charset="0"/>
              </a:rPr>
              <a:t>Fuel consumption of cars</a:t>
            </a:r>
          </a:p>
          <a:p>
            <a:pPr marL="571185" indent="-571185" algn="l" defTabSz="1828709" hangingPunct="1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3198">
                <a:solidFill>
                  <a:prstClr val="white"/>
                </a:solidFill>
                <a:latin typeface="Siemens Sans" pitchFamily="2" charset="0"/>
              </a:rPr>
              <a:t>Natural gas for heating and production</a:t>
            </a:r>
          </a:p>
          <a:p>
            <a:pPr marL="571185" indent="-571185" algn="l" defTabSz="1828709" hangingPunct="1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3198">
                <a:solidFill>
                  <a:prstClr val="white"/>
                </a:solidFill>
                <a:latin typeface="Siemens Sans" pitchFamily="2" charset="0"/>
              </a:rPr>
              <a:t>Electricity consumption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59EBEA1B-6127-4688-A48D-00A09886954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6046915" y="7104693"/>
            <a:ext cx="5440786" cy="984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71185" indent="-571185" defTabSz="1828709" hangingPunct="1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3198">
                <a:solidFill>
                  <a:prstClr val="white"/>
                </a:solidFill>
                <a:latin typeface="Siemens Sans" pitchFamily="2" charset="0"/>
              </a:rPr>
              <a:t>Emissions from electricity used over product lifetim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6DE0656-4101-423C-ACC0-BA9814E243D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590687" y="2971846"/>
            <a:ext cx="5989884" cy="8740501"/>
          </a:xfrm>
          <a:prstGeom prst="rect">
            <a:avLst/>
          </a:prstGeom>
          <a:noFill/>
          <a:ln w="12700">
            <a:solidFill>
              <a:srgbClr val="FFFF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874" tIns="143917" rIns="215874" bIns="143917" rtlCol="0" anchor="t" anchorCtr="0"/>
          <a:lstStyle/>
          <a:p>
            <a:pPr defTabSz="1828709" hangingPunct="1">
              <a:buClr>
                <a:srgbClr val="009999"/>
              </a:buClr>
            </a:pPr>
            <a:endParaRPr lang="en-US" sz="3598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7645196-C378-4E88-B8AA-CC1DBE97B00C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616499" y="4213370"/>
            <a:ext cx="3749424" cy="7383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1828709" hangingPunct="1">
              <a:buClr>
                <a:srgbClr val="009999"/>
              </a:buClr>
            </a:pP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10,5 </a:t>
            </a:r>
            <a:r>
              <a:rPr lang="de-DE" sz="4798" b="1" err="1">
                <a:solidFill>
                  <a:srgbClr val="008B8F"/>
                </a:solidFill>
                <a:latin typeface="Siemens Sans" pitchFamily="2" charset="0"/>
              </a:rPr>
              <a:t>Mt</a:t>
            </a: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 CO</a:t>
            </a:r>
            <a:r>
              <a:rPr lang="de-DE" sz="4798" b="1" baseline="-25000">
                <a:solidFill>
                  <a:srgbClr val="008B8F"/>
                </a:solidFill>
                <a:latin typeface="Siemens Sans" pitchFamily="2" charset="0"/>
              </a:rPr>
              <a:t>2</a:t>
            </a: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e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2601E5C-67D1-442D-935C-6EEC80C2241E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10602573" y="4213370"/>
            <a:ext cx="3395160" cy="7383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1828709" hangingPunct="1">
              <a:buClr>
                <a:srgbClr val="009999"/>
              </a:buClr>
            </a:pP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0,4 </a:t>
            </a:r>
            <a:r>
              <a:rPr lang="de-DE" sz="4798" b="1" err="1">
                <a:solidFill>
                  <a:srgbClr val="008B8F"/>
                </a:solidFill>
                <a:latin typeface="Siemens Sans" pitchFamily="2" charset="0"/>
              </a:rPr>
              <a:t>Mt</a:t>
            </a: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 CO</a:t>
            </a:r>
            <a:r>
              <a:rPr lang="de-DE" sz="4798" b="1" baseline="-25000">
                <a:solidFill>
                  <a:srgbClr val="008B8F"/>
                </a:solidFill>
                <a:latin typeface="Siemens Sans" pitchFamily="2" charset="0"/>
              </a:rPr>
              <a:t>2</a:t>
            </a: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e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7407418E-EA94-42E4-B537-535D6E4F8878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16945239" y="4213370"/>
            <a:ext cx="3571491" cy="7383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1828709" hangingPunct="1">
              <a:buClr>
                <a:srgbClr val="009999"/>
              </a:buClr>
            </a:pP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110 </a:t>
            </a:r>
            <a:r>
              <a:rPr lang="de-DE" sz="4798" b="1" err="1">
                <a:solidFill>
                  <a:srgbClr val="008B8F"/>
                </a:solidFill>
                <a:latin typeface="Siemens Sans" pitchFamily="2" charset="0"/>
              </a:rPr>
              <a:t>Mt</a:t>
            </a: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 CO</a:t>
            </a:r>
            <a:r>
              <a:rPr lang="de-DE" sz="4798" b="1" baseline="-25000">
                <a:solidFill>
                  <a:srgbClr val="008B8F"/>
                </a:solidFill>
                <a:latin typeface="Siemens Sans" pitchFamily="2" charset="0"/>
              </a:rPr>
              <a:t>2</a:t>
            </a:r>
            <a:r>
              <a:rPr lang="de-DE" sz="4798" b="1">
                <a:solidFill>
                  <a:srgbClr val="008B8F"/>
                </a:solidFill>
                <a:latin typeface="Siemens Sans" pitchFamily="2" charset="0"/>
              </a:rPr>
              <a:t>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C458F47-1359-A5FE-7A6F-188D7010227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83798" y="10332946"/>
            <a:ext cx="1410643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Targe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3F5E88A-820B-4E78-35ED-46AC1117B552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55812" y="7024757"/>
            <a:ext cx="1676741" cy="5536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828709" hangingPunct="1">
              <a:buClr>
                <a:srgbClr val="009999"/>
              </a:buClr>
            </a:pPr>
            <a:r>
              <a:rPr lang="en-US" sz="3598" b="1">
                <a:solidFill>
                  <a:prstClr val="white"/>
                </a:solidFill>
                <a:latin typeface="Siemens Sans" pitchFamily="2" charset="0"/>
              </a:rPr>
              <a:t>Source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BD6BB41-59E2-D691-938B-E4233B4616DA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7148500" y="11910197"/>
            <a:ext cx="54272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>
                <a:solidFill>
                  <a:schemeClr val="tx1"/>
                </a:solidFill>
                <a:latin typeface="Siemens Sans" pitchFamily="2" charset="0"/>
              </a:rPr>
              <a:t>Scope 3 downstream emissions exclude </a:t>
            </a:r>
            <a:r>
              <a:rPr lang="en-US" sz="1600" err="1">
                <a:solidFill>
                  <a:schemeClr val="tx1"/>
                </a:solidFill>
                <a:latin typeface="Siemens Sans" pitchFamily="2" charset="0"/>
              </a:rPr>
              <a:t>Innomotics</a:t>
            </a:r>
            <a:endParaRPr lang="en-US" sz="1600">
              <a:solidFill>
                <a:schemeClr val="tx1"/>
              </a:solidFill>
              <a:latin typeface="Siemens Sans" pitchFamily="2" charset="0"/>
            </a:endParaRP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1DBD6DDC-EB5C-E533-3C9F-A70B094D7A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118182" y="12621600"/>
            <a:ext cx="18430800" cy="1094400"/>
          </a:xfrm>
        </p:spPr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</p:spTree>
    <p:extLst>
      <p:ext uri="{BB962C8B-B14F-4D97-AF65-F5344CB8AC3E}">
        <p14:creationId xmlns:p14="http://schemas.microsoft.com/office/powerpoint/2010/main" val="1072157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C2CD36B-FD4B-48BA-84E5-E5D51FB6B0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622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4" imgH="345" progId="TCLayout.ActiveDocument.1">
                  <p:embed/>
                </p:oleObj>
              </mc:Choice>
              <mc:Fallback>
                <p:oleObj name="think-cell Slide" r:id="rId3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C2CD36B-FD4B-48BA-84E5-E5D51FB6B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3175" y="3622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2CB361-AC9F-46DC-A375-0D8DB674A43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0747" y="957984"/>
            <a:ext cx="20357357" cy="1151925"/>
          </a:xfrm>
        </p:spPr>
        <p:txBody>
          <a:bodyPr vert="horz"/>
          <a:lstStyle/>
          <a:p>
            <a:r>
              <a:rPr lang="en-US">
                <a:solidFill>
                  <a:prstClr val="white"/>
                </a:solidFill>
                <a:latin typeface="Siemens Sans" pitchFamily="2" charset="0"/>
              </a:rPr>
              <a:t>Consistent steps toward a net-zero supply chain</a:t>
            </a:r>
            <a:endParaRPr lang="en-US">
              <a:latin typeface="Siemens Sans" pitchFamily="2" charset="0"/>
              <a:cs typeface="Siemens Sans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48BB95-F14B-4144-B149-C2E2F86DCF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F79986F-2168-05B2-BE9D-D456AF468353}"/>
              </a:ext>
            </a:extLst>
          </p:cNvPr>
          <p:cNvGrpSpPr/>
          <p:nvPr/>
        </p:nvGrpSpPr>
        <p:grpSpPr>
          <a:xfrm>
            <a:off x="16367398" y="2825816"/>
            <a:ext cx="7927632" cy="8498711"/>
            <a:chOff x="16367398" y="2825816"/>
            <a:chExt cx="7927632" cy="8498711"/>
          </a:xfrm>
        </p:grpSpPr>
        <p:sp>
          <p:nvSpPr>
            <p:cNvPr id="33" name="Arrow: Pentagon 43">
              <a:extLst>
                <a:ext uri="{FF2B5EF4-FFF2-40B4-BE49-F238E27FC236}">
                  <a16:creationId xmlns:a16="http://schemas.microsoft.com/office/drawing/2014/main" id="{568C6593-326A-C948-04FE-034FDF7889BA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rot="5400000">
              <a:off x="18743243" y="4266145"/>
              <a:ext cx="2447841" cy="7199531"/>
            </a:xfrm>
            <a:prstGeom prst="homePlate">
              <a:avLst>
                <a:gd name="adj" fmla="val 41864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rgbClr val="33335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>
              <a:defPPr>
                <a:defRPr lang="en-US"/>
              </a:defPPr>
              <a:lvl1pPr>
                <a:spcBef>
                  <a:spcPts val="0"/>
                </a:spcBef>
                <a:buClr>
                  <a:schemeClr val="accent1"/>
                </a:buClr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31" name="Titel 4">
              <a:extLst>
                <a:ext uri="{FF2B5EF4-FFF2-40B4-BE49-F238E27FC236}">
                  <a16:creationId xmlns:a16="http://schemas.microsoft.com/office/drawing/2014/main" id="{CC7514DA-81F8-0543-0242-CB63AD9B5F88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 bwMode="black">
            <a:xfrm>
              <a:off x="16368199" y="2825816"/>
              <a:ext cx="6837242" cy="1151927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8000" b="1" kern="1200">
                  <a:gradFill>
                    <a:gsLst>
                      <a:gs pos="0">
                        <a:schemeClr val="accent2"/>
                      </a:gs>
                      <a:gs pos="100000">
                        <a:schemeClr val="accent3"/>
                      </a:gs>
                    </a:gsLst>
                    <a:lin ang="0" scaled="1"/>
                  </a:gradFill>
                  <a:latin typeface="+mj-lt"/>
                  <a:ea typeface="+mj-ea"/>
                  <a:cs typeface="+mj-cs"/>
                </a:defRPr>
              </a:lvl1pPr>
            </a:lstStyle>
            <a:p>
              <a:pPr defTabSz="1828709">
                <a:lnSpc>
                  <a:spcPct val="100000"/>
                </a:lnSpc>
                <a:spcBef>
                  <a:spcPts val="0"/>
                </a:spcBef>
                <a:buClr>
                  <a:srgbClr val="009999"/>
                </a:buClr>
                <a:defRPr/>
              </a:pPr>
              <a:r>
                <a:rPr lang="en-US" sz="3600">
                  <a:solidFill>
                    <a:srgbClr val="00C1B6"/>
                  </a:solidFill>
                  <a:latin typeface="Siemens Sans" pitchFamily="2" charset="0"/>
                </a:rPr>
                <a:t>Collaboration and technology as enablers</a:t>
              </a:r>
            </a:p>
          </p:txBody>
        </p:sp>
        <p:sp>
          <p:nvSpPr>
            <p:cNvPr id="45" name="TextBox 12">
              <a:extLst>
                <a:ext uri="{FF2B5EF4-FFF2-40B4-BE49-F238E27FC236}">
                  <a16:creationId xmlns:a16="http://schemas.microsoft.com/office/drawing/2014/main" id="{A979E65F-DFF9-D357-295C-E7237FF4279F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16368198" y="9160361"/>
              <a:ext cx="3311784" cy="198515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lvl="1" indent="0" algn="l" defTabSz="1828709" hangingPunct="1">
                <a:spcAft>
                  <a:spcPts val="600"/>
                </a:spcAft>
                <a:buClr>
                  <a:srgbClr val="00D7A0"/>
                </a:buClr>
                <a:buSzPct val="100000"/>
                <a:defRPr/>
              </a:pPr>
              <a:r>
                <a:rPr lang="en-US" sz="3600" b="1" kern="1200">
                  <a:solidFill>
                    <a:prstClr val="white"/>
                  </a:solidFill>
                  <a:latin typeface="Siemens Sans" pitchFamily="2" charset="0"/>
                </a:rPr>
                <a:t>6,000</a:t>
              </a:r>
              <a:r>
                <a:rPr lang="en-US" sz="4000" b="1" kern="1200">
                  <a:solidFill>
                    <a:prstClr val="white"/>
                  </a:solidFill>
                  <a:latin typeface="Siemens Sans" pitchFamily="2" charset="0"/>
                </a:rPr>
                <a:t> </a:t>
              </a:r>
            </a:p>
            <a:p>
              <a:pPr lvl="1" indent="0" algn="l" defTabSz="1828709" hangingPunct="1">
                <a:spcAft>
                  <a:spcPts val="600"/>
                </a:spcAft>
                <a:buClr>
                  <a:srgbClr val="00D7A0"/>
                </a:buClr>
                <a:buSzPct val="100000"/>
                <a:defRPr/>
              </a:pPr>
              <a:r>
                <a:rPr lang="en-US" sz="2800" kern="1200">
                  <a:solidFill>
                    <a:prstClr val="white"/>
                  </a:solidFill>
                  <a:latin typeface="Siemens Sans" pitchFamily="2" charset="0"/>
                </a:rPr>
                <a:t>suppliers reported their CO₂ reduction efforts</a:t>
              </a:r>
            </a:p>
          </p:txBody>
        </p:sp>
        <p:sp>
          <p:nvSpPr>
            <p:cNvPr id="35" name="TextBox 12">
              <a:extLst>
                <a:ext uri="{FF2B5EF4-FFF2-40B4-BE49-F238E27FC236}">
                  <a16:creationId xmlns:a16="http://schemas.microsoft.com/office/drawing/2014/main" id="{FE55A237-F0CE-4E86-2537-4DB2D24E9B1B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20543926" y="9160361"/>
              <a:ext cx="3751104" cy="192360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lvl="1" indent="0" algn="l" defTabSz="1828709" hangingPunct="1">
                <a:spcAft>
                  <a:spcPts val="600"/>
                </a:spcAft>
                <a:buClr>
                  <a:srgbClr val="00D7A0"/>
                </a:buClr>
                <a:buSzPct val="100000"/>
                <a:defRPr/>
              </a:pPr>
              <a:r>
                <a:rPr lang="en-US" sz="3600" b="1" kern="1200">
                  <a:solidFill>
                    <a:prstClr val="white"/>
                  </a:solidFill>
                  <a:latin typeface="Siemens Sans" pitchFamily="2" charset="0"/>
                </a:rPr>
                <a:t>9%</a:t>
              </a:r>
            </a:p>
            <a:p>
              <a:pPr lvl="1" indent="0" algn="l" defTabSz="1828709" hangingPunct="1">
                <a:spcAft>
                  <a:spcPts val="600"/>
                </a:spcAft>
                <a:buClr>
                  <a:srgbClr val="00D7A0"/>
                </a:buClr>
                <a:buSzPct val="100000"/>
                <a:defRPr/>
              </a:pPr>
              <a:r>
                <a:rPr lang="en-US" sz="2800" kern="1200">
                  <a:solidFill>
                    <a:prstClr val="white"/>
                  </a:solidFill>
                  <a:latin typeface="Siemens Sans" pitchFamily="2" charset="0"/>
                </a:rPr>
                <a:t>Avg. reduction of CO₂</a:t>
              </a:r>
              <a:r>
                <a:rPr lang="en-US" sz="2800" kern="1200" baseline="-25000">
                  <a:solidFill>
                    <a:prstClr val="white"/>
                  </a:solidFill>
                  <a:latin typeface="Siemens Sans" pitchFamily="2" charset="0"/>
                </a:rPr>
                <a:t> </a:t>
              </a:r>
              <a:r>
                <a:rPr lang="en-US" sz="2800" kern="1200">
                  <a:solidFill>
                    <a:prstClr val="white"/>
                  </a:solidFill>
                  <a:latin typeface="Siemens Sans" pitchFamily="2" charset="0"/>
                </a:rPr>
                <a:t>footprint of suppliers actively engaged </a:t>
              </a: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60" name="Arc 26">
              <a:extLst>
                <a:ext uri="{FF2B5EF4-FFF2-40B4-BE49-F238E27FC236}">
                  <a16:creationId xmlns:a16="http://schemas.microsoft.com/office/drawing/2014/main" id="{78D82BD9-1224-273E-02EF-CE219C18A48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auto">
            <a:xfrm>
              <a:off x="21185094" y="5465141"/>
              <a:ext cx="2396648" cy="2396648"/>
            </a:xfrm>
            <a:prstGeom prst="ellipse">
              <a:avLst/>
            </a:prstGeom>
            <a:noFill/>
            <a:ln w="19050" cap="rnd" cmpd="sng" algn="ctr">
              <a:solidFill>
                <a:srgbClr val="9999A9"/>
              </a:solidFill>
              <a:prstDash val="dash"/>
              <a:round/>
              <a:headEnd type="none" w="lg" len="lg"/>
              <a:tailEnd type="none" w="lg" len="lg"/>
            </a:ln>
            <a:effectLst/>
          </p:spPr>
          <p:txBody>
            <a:bodyPr rtlCol="0" anchor="ctr"/>
            <a:lstStyle/>
            <a:p>
              <a:pPr defTabSz="1828709" hangingPunct="1">
                <a:defRPr/>
              </a:pPr>
              <a:r>
                <a:rPr lang="en-US" sz="2400" b="1" kern="1200">
                  <a:solidFill>
                    <a:prstClr val="white"/>
                  </a:solidFill>
                  <a:latin typeface="Siemens Sans" pitchFamily="2" charset="0"/>
                </a:rPr>
                <a:t>Green Digital Twin™ </a:t>
              </a:r>
            </a:p>
          </p:txBody>
        </p:sp>
        <p:sp>
          <p:nvSpPr>
            <p:cNvPr id="7" name="Arc 25">
              <a:extLst>
                <a:ext uri="{FF2B5EF4-FFF2-40B4-BE49-F238E27FC236}">
                  <a16:creationId xmlns:a16="http://schemas.microsoft.com/office/drawing/2014/main" id="{349461D3-01B8-0517-5463-A502186DB21E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auto">
            <a:xfrm>
              <a:off x="18795734" y="5465141"/>
              <a:ext cx="2396648" cy="2396648"/>
            </a:xfrm>
            <a:prstGeom prst="ellipse">
              <a:avLst/>
            </a:prstGeom>
            <a:noFill/>
            <a:ln w="19050" cap="rnd" cmpd="sng" algn="ctr">
              <a:solidFill>
                <a:srgbClr val="9999A9"/>
              </a:solidFill>
              <a:prstDash val="dash"/>
              <a:round/>
              <a:headEnd type="none" w="lg" len="lg"/>
              <a:tailEnd type="none" w="lg" len="lg"/>
            </a:ln>
            <a:effectLst/>
          </p:spPr>
          <p:txBody>
            <a:bodyPr wrap="none" rtlCol="0" anchor="ctr"/>
            <a:lstStyle/>
            <a:p>
              <a:pPr defTabSz="1828709" hangingPunct="1">
                <a:defRPr/>
              </a:pPr>
              <a:r>
                <a:rPr lang="en-US" sz="2400" b="1" kern="1200">
                  <a:solidFill>
                    <a:prstClr val="white"/>
                  </a:solidFill>
                  <a:latin typeface="Siemens Sans" pitchFamily="2" charset="0"/>
                </a:rPr>
                <a:t>CO₂ </a:t>
              </a:r>
              <a:br>
                <a:rPr lang="en-US" sz="2400" b="1" kern="1200">
                  <a:solidFill>
                    <a:prstClr val="white"/>
                  </a:solidFill>
                  <a:latin typeface="Siemens Sans" pitchFamily="2" charset="0"/>
                </a:rPr>
              </a:br>
              <a:r>
                <a:rPr lang="en-US" sz="2400" b="1" kern="1200">
                  <a:solidFill>
                    <a:prstClr val="white"/>
                  </a:solidFill>
                  <a:latin typeface="Siemens Sans" pitchFamily="2" charset="0"/>
                </a:rPr>
                <a:t>Monitoring</a:t>
              </a:r>
            </a:p>
            <a:p>
              <a:pPr defTabSz="1828709" hangingPunct="1">
                <a:defRPr/>
              </a:pPr>
              <a:r>
                <a:rPr lang="en-US" sz="2400" b="1" kern="1200" err="1">
                  <a:solidFill>
                    <a:prstClr val="white"/>
                  </a:solidFill>
                  <a:latin typeface="Siemens Sans" pitchFamily="2" charset="0"/>
                </a:rPr>
                <a:t>item+s</a:t>
              </a:r>
              <a:endParaRPr lang="en-US" sz="2400" b="1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10" name="Arc 26">
              <a:extLst>
                <a:ext uri="{FF2B5EF4-FFF2-40B4-BE49-F238E27FC236}">
                  <a16:creationId xmlns:a16="http://schemas.microsoft.com/office/drawing/2014/main" id="{177B821B-9D50-A84A-E237-F12ABE5BFA27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auto">
            <a:xfrm>
              <a:off x="16383111" y="5465141"/>
              <a:ext cx="2396648" cy="2396648"/>
            </a:xfrm>
            <a:prstGeom prst="ellipse">
              <a:avLst/>
            </a:prstGeom>
            <a:noFill/>
            <a:ln w="19050" cap="rnd" cmpd="sng" algn="ctr">
              <a:solidFill>
                <a:srgbClr val="9999A9"/>
              </a:solidFill>
              <a:prstDash val="dash"/>
              <a:round/>
              <a:headEnd type="none" w="lg" len="lg"/>
              <a:tailEnd type="none" w="lg" len="lg"/>
            </a:ln>
            <a:effectLst/>
          </p:spPr>
          <p:txBody>
            <a:bodyPr wrap="none" rtlCol="0" anchor="ctr"/>
            <a:lstStyle/>
            <a:p>
              <a:pPr defTabSz="1828709" hangingPunct="1">
                <a:defRPr/>
              </a:pPr>
              <a:r>
                <a:rPr lang="en-US" sz="2400" b="1" kern="1200" err="1">
                  <a:solidFill>
                    <a:prstClr val="white"/>
                  </a:solidFill>
                  <a:latin typeface="Siemens Sans" pitchFamily="2" charset="0"/>
                </a:rPr>
                <a:t>supplier+s</a:t>
              </a:r>
              <a:endParaRPr lang="en-US" sz="2400" b="1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24" name="Arc 18">
              <a:extLst>
                <a:ext uri="{FF2B5EF4-FFF2-40B4-BE49-F238E27FC236}">
                  <a16:creationId xmlns:a16="http://schemas.microsoft.com/office/drawing/2014/main" id="{825DA4DB-8625-F980-B325-BEF78898E37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auto">
            <a:xfrm>
              <a:off x="18783403" y="5465141"/>
              <a:ext cx="2396648" cy="2396648"/>
            </a:xfrm>
            <a:prstGeom prst="arc">
              <a:avLst>
                <a:gd name="adj1" fmla="val 10765294"/>
                <a:gd name="adj2" fmla="val 81960"/>
              </a:avLst>
            </a:prstGeom>
            <a:noFill/>
            <a:ln w="38100" cap="rnd" cmpd="sng" algn="ctr">
              <a:solidFill>
                <a:srgbClr val="00C1B6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rtlCol="0" anchor="ctr"/>
            <a:lstStyle/>
            <a:p>
              <a:pPr defTabSz="1828709" hangingPunct="1"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28" name="Arc 24">
              <a:extLst>
                <a:ext uri="{FF2B5EF4-FFF2-40B4-BE49-F238E27FC236}">
                  <a16:creationId xmlns:a16="http://schemas.microsoft.com/office/drawing/2014/main" id="{32DDC68D-9C7F-D4CD-048A-58A7C1350C1F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auto">
            <a:xfrm>
              <a:off x="21177807" y="5465141"/>
              <a:ext cx="2396648" cy="2396648"/>
            </a:xfrm>
            <a:prstGeom prst="arc">
              <a:avLst>
                <a:gd name="adj1" fmla="val 21565218"/>
                <a:gd name="adj2" fmla="val 10915299"/>
              </a:avLst>
            </a:prstGeom>
            <a:noFill/>
            <a:ln w="38100" cap="rnd" cmpd="sng" algn="ctr">
              <a:solidFill>
                <a:srgbClr val="00C1B6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rtlCol="0" anchor="ctr"/>
            <a:lstStyle/>
            <a:p>
              <a:pPr defTabSz="1828709" hangingPunct="1"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39" name="Textfeld 30">
              <a:extLst>
                <a:ext uri="{FF2B5EF4-FFF2-40B4-BE49-F238E27FC236}">
                  <a16:creationId xmlns:a16="http://schemas.microsoft.com/office/drawing/2014/main" id="{D372D2B5-9339-5920-F8D6-0077188E0783}"/>
                </a:ext>
              </a:extLst>
            </p:cNvPr>
            <p:cNvSpPr txBox="1"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21170285" y="4490100"/>
              <a:ext cx="2397444" cy="738664"/>
            </a:xfrm>
            <a:prstGeom prst="rect">
              <a:avLst/>
            </a:prstGeom>
            <a:noFill/>
            <a:ln>
              <a:noFill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828709" hangingPunct="1">
                <a:tabLst>
                  <a:tab pos="2511300" algn="r"/>
                </a:tabLst>
                <a:defRPr/>
              </a:pPr>
              <a:r>
                <a:rPr lang="en-US" altLang="de-DE" sz="2400" kern="1200">
                  <a:solidFill>
                    <a:srgbClr val="9999A9"/>
                  </a:solidFill>
                  <a:latin typeface="Siemens Sans" pitchFamily="2" charset="0"/>
                  <a:ea typeface="Siemens Sans"/>
                  <a:cs typeface="Siemens Sans" pitchFamily="34" charset="0"/>
                </a:rPr>
                <a:t>Product Carbon Footprint</a:t>
              </a:r>
            </a:p>
          </p:txBody>
        </p:sp>
        <p:sp>
          <p:nvSpPr>
            <p:cNvPr id="40" name="Textfeld 30">
              <a:extLst>
                <a:ext uri="{FF2B5EF4-FFF2-40B4-BE49-F238E27FC236}">
                  <a16:creationId xmlns:a16="http://schemas.microsoft.com/office/drawing/2014/main" id="{49973BBE-9788-D233-359A-7218DE54441A}"/>
                </a:ext>
              </a:extLst>
            </p:cNvPr>
            <p:cNvSpPr txBox="1"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16368198" y="4490100"/>
              <a:ext cx="2397444" cy="738664"/>
            </a:xfrm>
            <a:prstGeom prst="rect">
              <a:avLst/>
            </a:prstGeom>
            <a:noFill/>
            <a:ln>
              <a:noFill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828709" hangingPunct="1">
                <a:tabLst>
                  <a:tab pos="2511300" algn="r"/>
                </a:tabLst>
                <a:defRPr/>
              </a:pPr>
              <a:r>
                <a:rPr lang="en-US" altLang="de-DE" sz="2400" kern="1200">
                  <a:solidFill>
                    <a:srgbClr val="9999A9"/>
                  </a:solidFill>
                  <a:latin typeface="Siemens Sans" pitchFamily="2" charset="0"/>
                  <a:ea typeface="Siemens Sans"/>
                  <a:cs typeface="Siemens Sans" pitchFamily="34" charset="0"/>
                </a:rPr>
                <a:t>Supplier Carbon Footprint</a:t>
              </a:r>
            </a:p>
          </p:txBody>
        </p:sp>
        <p:sp>
          <p:nvSpPr>
            <p:cNvPr id="41" name="Textfeld 30">
              <a:extLst>
                <a:ext uri="{FF2B5EF4-FFF2-40B4-BE49-F238E27FC236}">
                  <a16:creationId xmlns:a16="http://schemas.microsoft.com/office/drawing/2014/main" id="{9FD83A17-2F18-767B-DED5-83D22ADF736C}"/>
                </a:ext>
              </a:extLst>
            </p:cNvPr>
            <p:cNvSpPr txBox="1"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18769242" y="4490100"/>
              <a:ext cx="2397444" cy="738664"/>
            </a:xfrm>
            <a:prstGeom prst="rect">
              <a:avLst/>
            </a:prstGeom>
            <a:noFill/>
            <a:ln>
              <a:noFill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828709" hangingPunct="1">
                <a:tabLst>
                  <a:tab pos="2511300" algn="r"/>
                </a:tabLst>
                <a:defRPr/>
              </a:pPr>
              <a:r>
                <a:rPr lang="en-US" altLang="de-DE" sz="2400" kern="1200">
                  <a:solidFill>
                    <a:srgbClr val="9999A9"/>
                  </a:solidFill>
                  <a:latin typeface="Siemens Sans" pitchFamily="2" charset="0"/>
                  <a:ea typeface="Siemens Sans"/>
                  <a:cs typeface="Siemens Sans" pitchFamily="34" charset="0"/>
                </a:rPr>
                <a:t>Scope 3 </a:t>
              </a:r>
              <a:br>
                <a:rPr lang="en-US" altLang="de-DE" sz="2400" kern="1200">
                  <a:solidFill>
                    <a:srgbClr val="9999A9"/>
                  </a:solidFill>
                  <a:latin typeface="Siemens Sans" pitchFamily="2" charset="0"/>
                  <a:ea typeface="Siemens Sans"/>
                  <a:cs typeface="Siemens Sans" pitchFamily="34" charset="0"/>
                </a:rPr>
              </a:br>
              <a:r>
                <a:rPr lang="en-US" altLang="de-DE" sz="2400" kern="1200">
                  <a:solidFill>
                    <a:srgbClr val="9999A9"/>
                  </a:solidFill>
                  <a:latin typeface="Siemens Sans" pitchFamily="2" charset="0"/>
                  <a:ea typeface="Siemens Sans"/>
                  <a:cs typeface="Siemens Sans" pitchFamily="34" charset="0"/>
                </a:rPr>
                <a:t>upstream</a:t>
              </a:r>
            </a:p>
          </p:txBody>
        </p:sp>
        <p:sp>
          <p:nvSpPr>
            <p:cNvPr id="21" name="Arc 1">
              <a:extLst>
                <a:ext uri="{FF2B5EF4-FFF2-40B4-BE49-F238E27FC236}">
                  <a16:creationId xmlns:a16="http://schemas.microsoft.com/office/drawing/2014/main" id="{8D3FECD8-4FC3-5362-1220-7A7308029D1F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auto">
            <a:xfrm>
              <a:off x="16383111" y="5465141"/>
              <a:ext cx="2396648" cy="2396648"/>
            </a:xfrm>
            <a:prstGeom prst="arc">
              <a:avLst>
                <a:gd name="adj1" fmla="val 21494256"/>
                <a:gd name="adj2" fmla="val 10832512"/>
              </a:avLst>
            </a:prstGeom>
            <a:noFill/>
            <a:ln w="38100" cap="rnd" cmpd="sng" algn="ctr">
              <a:solidFill>
                <a:srgbClr val="00C1B6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rtlCol="0" anchor="ctr"/>
            <a:lstStyle/>
            <a:p>
              <a:pPr defTabSz="1828709" hangingPunct="1"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9" name="Gleichschenkliges Dreieck 8">
              <a:extLst>
                <a:ext uri="{FF2B5EF4-FFF2-40B4-BE49-F238E27FC236}">
                  <a16:creationId xmlns:a16="http://schemas.microsoft.com/office/drawing/2014/main" id="{27ECC251-E0DB-C98F-944C-E43D74FBA2D6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18623501" y="6519474"/>
              <a:ext cx="287981" cy="287981"/>
            </a:xfrm>
            <a:prstGeom prst="triangle">
              <a:avLst/>
            </a:pr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/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30" name="Gleichschenkliges Dreieck 29">
              <a:extLst>
                <a:ext uri="{FF2B5EF4-FFF2-40B4-BE49-F238E27FC236}">
                  <a16:creationId xmlns:a16="http://schemas.microsoft.com/office/drawing/2014/main" id="{4FB6CC08-4B7C-4846-6C7F-38EF58131E3F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 rot="10800000">
              <a:off x="21023611" y="6519476"/>
              <a:ext cx="287981" cy="287981"/>
            </a:xfrm>
            <a:prstGeom prst="triangle">
              <a:avLst/>
            </a:pr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/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32" name="Gleichschenkliges Dreieck 31">
              <a:extLst>
                <a:ext uri="{FF2B5EF4-FFF2-40B4-BE49-F238E27FC236}">
                  <a16:creationId xmlns:a16="http://schemas.microsoft.com/office/drawing/2014/main" id="{A61AB438-703C-BD4E-0A2A-B08707603D55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23423723" y="6519474"/>
              <a:ext cx="287981" cy="287981"/>
            </a:xfrm>
            <a:prstGeom prst="triangle">
              <a:avLst/>
            </a:prstGeom>
            <a:solidFill>
              <a:srgbClr val="00C1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/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4BA9767-9E87-34F3-7C0A-E4209194C199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8960029" y="10820560"/>
              <a:ext cx="431972" cy="503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/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4128E5E-917C-16FC-9B3A-E1E2E91C3A2C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20399664" y="9160360"/>
              <a:ext cx="719953" cy="8639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/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B4EC3BF2-E0DB-617C-FEB9-0B7EC6BE4E02}"/>
                </a:ext>
              </a:extLst>
            </p:cNvPr>
            <p:cNvCxnSpPr>
              <a:stCxn id="20" idx="3"/>
              <a:endCxn id="27" idx="1"/>
            </p:cNvCxnSpPr>
            <p:nvPr/>
          </p:nvCxnSpPr>
          <p:spPr>
            <a:xfrm flipV="1">
              <a:off x="19392001" y="9592332"/>
              <a:ext cx="1007662" cy="1480212"/>
            </a:xfrm>
            <a:prstGeom prst="bentConnector3">
              <a:avLst/>
            </a:prstGeom>
            <a:ln w="12700">
              <a:solidFill>
                <a:srgbClr val="333353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91C98C9-5D81-1F79-2C6E-7733FB61779E}"/>
              </a:ext>
            </a:extLst>
          </p:cNvPr>
          <p:cNvGrpSpPr/>
          <p:nvPr/>
        </p:nvGrpSpPr>
        <p:grpSpPr>
          <a:xfrm>
            <a:off x="814683" y="2825816"/>
            <a:ext cx="7207116" cy="8783603"/>
            <a:chOff x="814683" y="2825816"/>
            <a:chExt cx="7207116" cy="8783603"/>
          </a:xfrm>
        </p:grpSpPr>
        <p:sp>
          <p:nvSpPr>
            <p:cNvPr id="23" name="Arrow: Pentagon 43">
              <a:extLst>
                <a:ext uri="{FF2B5EF4-FFF2-40B4-BE49-F238E27FC236}">
                  <a16:creationId xmlns:a16="http://schemas.microsoft.com/office/drawing/2014/main" id="{EC8E802E-D722-70D3-6CB0-EA67F545D39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3766819" y="4409888"/>
              <a:ext cx="3887241" cy="7199531"/>
            </a:xfrm>
            <a:prstGeom prst="homePlate">
              <a:avLst>
                <a:gd name="adj" fmla="val 41864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rgbClr val="33335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>
              <a:defPPr>
                <a:defRPr lang="en-US"/>
              </a:defPPr>
              <a:lvl1pPr>
                <a:spcBef>
                  <a:spcPts val="0"/>
                </a:spcBef>
                <a:buClr>
                  <a:schemeClr val="accent1"/>
                </a:buClr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grpSp>
          <p:nvGrpSpPr>
            <p:cNvPr id="15" name="Gruppieren 12">
              <a:extLst>
                <a:ext uri="{FF2B5EF4-FFF2-40B4-BE49-F238E27FC236}">
                  <a16:creationId xmlns:a16="http://schemas.microsoft.com/office/drawing/2014/main" id="{4137150D-BFF6-C3F7-E09C-857F6739B15E}"/>
                </a:ext>
              </a:extLst>
            </p:cNvPr>
            <p:cNvGrpSpPr/>
            <p:nvPr/>
          </p:nvGrpSpPr>
          <p:grpSpPr>
            <a:xfrm>
              <a:off x="2614766" y="4850815"/>
              <a:ext cx="3599772" cy="6359970"/>
              <a:chOff x="7284691" y="924493"/>
              <a:chExt cx="1104788" cy="3383732"/>
            </a:xfrm>
            <a:solidFill>
              <a:srgbClr val="E1E1D7"/>
            </a:solidFill>
          </p:grpSpPr>
          <p:sp>
            <p:nvSpPr>
              <p:cNvPr id="16" name="Rechteck 13">
                <a:extLst>
                  <a:ext uri="{FF2B5EF4-FFF2-40B4-BE49-F238E27FC236}">
                    <a16:creationId xmlns:a16="http://schemas.microsoft.com/office/drawing/2014/main" id="{AA42D7D7-9CAB-6E00-E0EE-DE342C6DE40E}"/>
                  </a:ext>
                </a:extLst>
              </p:cNvPr>
              <p:cNvSpPr/>
              <p:nvPr/>
            </p:nvSpPr>
            <p:spPr bwMode="auto">
              <a:xfrm>
                <a:off x="7284693" y="924493"/>
                <a:ext cx="1104786" cy="9973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numCol="1" spcCol="53936" rtlCol="0" anchor="t">
                <a:noAutofit/>
              </a:bodyPr>
              <a:lstStyle/>
              <a:p>
                <a:pPr algn="l" defTabSz="1828709" hangingPunct="1">
                  <a:spcAft>
                    <a:spcPts val="600"/>
                  </a:spcAft>
                  <a:defRPr/>
                </a:pPr>
                <a:r>
                  <a:rPr lang="en-US" b="1" kern="1200">
                    <a:solidFill>
                      <a:prstClr val="white"/>
                    </a:solidFill>
                    <a:latin typeface="Siemens Sans" pitchFamily="2" charset="0"/>
                  </a:rPr>
                  <a:t>67,500</a:t>
                </a:r>
              </a:p>
              <a:p>
                <a:pPr algn="l" defTabSz="1828709" hangingPunct="1">
                  <a:spcAft>
                    <a:spcPts val="600"/>
                  </a:spcAft>
                  <a:defRPr/>
                </a:pPr>
                <a:r>
                  <a:rPr lang="en-US" sz="2800" kern="1200">
                    <a:solidFill>
                      <a:prstClr val="white"/>
                    </a:solidFill>
                    <a:latin typeface="Siemens Sans" pitchFamily="2" charset="0"/>
                  </a:rPr>
                  <a:t>Suppliers</a:t>
                </a:r>
                <a:endParaRPr lang="en-US" sz="3198" kern="1200">
                  <a:solidFill>
                    <a:prstClr val="white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7" name="Rechteck 14">
                <a:extLst>
                  <a:ext uri="{FF2B5EF4-FFF2-40B4-BE49-F238E27FC236}">
                    <a16:creationId xmlns:a16="http://schemas.microsoft.com/office/drawing/2014/main" id="{34A0AF5A-7A6B-CA62-F21C-C6B29AAD14EC}"/>
                  </a:ext>
                </a:extLst>
              </p:cNvPr>
              <p:cNvSpPr/>
              <p:nvPr/>
            </p:nvSpPr>
            <p:spPr bwMode="auto">
              <a:xfrm>
                <a:off x="7284691" y="2042380"/>
                <a:ext cx="1104786" cy="9000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numCol="1" spcCol="53936" rtlCol="0" anchor="t">
                <a:noAutofit/>
              </a:bodyPr>
              <a:lstStyle/>
              <a:p>
                <a:pPr algn="l" defTabSz="1828709" hangingPunct="1">
                  <a:spcAft>
                    <a:spcPts val="600"/>
                  </a:spcAft>
                  <a:defRPr/>
                </a:pPr>
                <a:r>
                  <a:rPr lang="en-US" b="1" kern="1200">
                    <a:solidFill>
                      <a:prstClr val="white">
                        <a:lumMod val="100000"/>
                      </a:prstClr>
                    </a:solidFill>
                    <a:latin typeface="Siemens Sans" pitchFamily="2" charset="0"/>
                    <a:sym typeface="+mn-lt"/>
                  </a:rPr>
                  <a:t>€35bn</a:t>
                </a:r>
              </a:p>
              <a:p>
                <a:pPr algn="l" defTabSz="1828709" hangingPunct="1">
                  <a:spcAft>
                    <a:spcPts val="600"/>
                  </a:spcAft>
                  <a:defRPr/>
                </a:pPr>
                <a:r>
                  <a:rPr lang="en-US" sz="2800" kern="1200">
                    <a:solidFill>
                      <a:prstClr val="white"/>
                    </a:solidFill>
                    <a:latin typeface="Siemens Sans" pitchFamily="2" charset="0"/>
                    <a:ea typeface="ＭＳ Ｐゴシック"/>
                    <a:cs typeface="Siemens Sans"/>
                  </a:rPr>
                  <a:t>goods and </a:t>
                </a:r>
                <a:br>
                  <a:rPr lang="en-US" sz="2800" kern="1200">
                    <a:solidFill>
                      <a:prstClr val="white"/>
                    </a:solidFill>
                    <a:latin typeface="Siemens Sans" pitchFamily="2" charset="0"/>
                    <a:ea typeface="ＭＳ Ｐゴシック"/>
                    <a:cs typeface="Siemens Sans"/>
                  </a:rPr>
                </a:br>
                <a:r>
                  <a:rPr lang="en-US" sz="2800" kern="1200">
                    <a:solidFill>
                      <a:prstClr val="white"/>
                    </a:solidFill>
                    <a:latin typeface="Siemens Sans" pitchFamily="2" charset="0"/>
                    <a:ea typeface="ＭＳ Ｐゴシック"/>
                    <a:cs typeface="Siemens Sans"/>
                  </a:rPr>
                  <a:t>services purchased</a:t>
                </a:r>
                <a:endParaRPr lang="en-US" sz="3198" kern="1200">
                  <a:solidFill>
                    <a:prstClr val="white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8" name="Rechteck 15">
                <a:extLst>
                  <a:ext uri="{FF2B5EF4-FFF2-40B4-BE49-F238E27FC236}">
                    <a16:creationId xmlns:a16="http://schemas.microsoft.com/office/drawing/2014/main" id="{28E5239C-90B4-96BB-99CC-AE642ABD7DC6}"/>
                  </a:ext>
                </a:extLst>
              </p:cNvPr>
              <p:cNvSpPr/>
              <p:nvPr/>
            </p:nvSpPr>
            <p:spPr bwMode="auto">
              <a:xfrm>
                <a:off x="7284691" y="3408161"/>
                <a:ext cx="1104786" cy="9000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numCol="1" spcCol="53936" rtlCol="0" anchor="t">
                <a:noAutofit/>
              </a:bodyPr>
              <a:lstStyle/>
              <a:p>
                <a:pPr algn="l" defTabSz="1828709" hangingPunct="1">
                  <a:spcAft>
                    <a:spcPts val="600"/>
                  </a:spcAft>
                  <a:tabLst>
                    <a:tab pos="5555972" algn="l"/>
                  </a:tabLst>
                  <a:defRPr/>
                </a:pPr>
                <a:r>
                  <a:rPr lang="en-US" b="1" kern="1200">
                    <a:solidFill>
                      <a:prstClr val="white">
                        <a:lumMod val="100000"/>
                      </a:prstClr>
                    </a:solidFill>
                    <a:latin typeface="Siemens Sans" pitchFamily="2" charset="0"/>
                    <a:sym typeface="+mn-lt"/>
                  </a:rPr>
                  <a:t>140</a:t>
                </a:r>
              </a:p>
              <a:p>
                <a:pPr algn="l" defTabSz="1828709" hangingPunct="1">
                  <a:spcAft>
                    <a:spcPts val="600"/>
                  </a:spcAft>
                  <a:tabLst>
                    <a:tab pos="5555972" algn="l"/>
                  </a:tabLst>
                  <a:defRPr/>
                </a:pPr>
                <a:r>
                  <a:rPr lang="en-US" sz="2800" kern="1200">
                    <a:solidFill>
                      <a:prstClr val="white"/>
                    </a:solidFill>
                    <a:latin typeface="Siemens Sans" pitchFamily="2" charset="0"/>
                    <a:ea typeface="ＭＳ Ｐゴシック"/>
                    <a:cs typeface="Siemens Sans"/>
                  </a:rPr>
                  <a:t>countries</a:t>
                </a:r>
                <a:endParaRPr lang="en-US" sz="3198" kern="1200">
                  <a:solidFill>
                    <a:prstClr val="white"/>
                  </a:solidFill>
                  <a:latin typeface="Siemens Sans" pitchFamily="2" charset="0"/>
                  <a:ea typeface="ＭＳ Ｐゴシック"/>
                  <a:cs typeface="Siemens Sans"/>
                </a:endParaRPr>
              </a:p>
            </p:txBody>
          </p:sp>
        </p:grpSp>
        <p:sp>
          <p:nvSpPr>
            <p:cNvPr id="22" name="Freihandform: Form 225">
              <a:extLst>
                <a:ext uri="{FF2B5EF4-FFF2-40B4-BE49-F238E27FC236}">
                  <a16:creationId xmlns:a16="http://schemas.microsoft.com/office/drawing/2014/main" id="{3DB740FA-8A82-C9DD-A907-11701FE741F2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814683" y="5130465"/>
              <a:ext cx="1307903" cy="967255"/>
            </a:xfrm>
            <a:custGeom>
              <a:avLst/>
              <a:gdLst>
                <a:gd name="connsiteX0" fmla="*/ 425829 w 678675"/>
                <a:gd name="connsiteY0" fmla="*/ 24708 h 501910"/>
                <a:gd name="connsiteX1" fmla="*/ 401121 w 678675"/>
                <a:gd name="connsiteY1" fmla="*/ 0 h 501910"/>
                <a:gd name="connsiteX2" fmla="*/ 220519 w 678675"/>
                <a:gd name="connsiteY2" fmla="*/ 0 h 501910"/>
                <a:gd name="connsiteX3" fmla="*/ 39919 w 678675"/>
                <a:gd name="connsiteY3" fmla="*/ 0 h 501910"/>
                <a:gd name="connsiteX4" fmla="*/ 15211 w 678675"/>
                <a:gd name="connsiteY4" fmla="*/ 24708 h 501910"/>
                <a:gd name="connsiteX5" fmla="*/ 15211 w 678675"/>
                <a:gd name="connsiteY5" fmla="*/ 288983 h 501910"/>
                <a:gd name="connsiteX6" fmla="*/ 0 w 678675"/>
                <a:gd name="connsiteY6" fmla="*/ 354200 h 501910"/>
                <a:gd name="connsiteX7" fmla="*/ 8638 w 678675"/>
                <a:gd name="connsiteY7" fmla="*/ 477847 h 501910"/>
                <a:gd name="connsiteX8" fmla="*/ 33347 w 678675"/>
                <a:gd name="connsiteY8" fmla="*/ 501911 h 501910"/>
                <a:gd name="connsiteX9" fmla="*/ 51320 w 678675"/>
                <a:gd name="connsiteY9" fmla="*/ 501911 h 501910"/>
                <a:gd name="connsiteX10" fmla="*/ 76028 w 678675"/>
                <a:gd name="connsiteY10" fmla="*/ 477203 h 501910"/>
                <a:gd name="connsiteX11" fmla="*/ 76028 w 678675"/>
                <a:gd name="connsiteY11" fmla="*/ 448686 h 501910"/>
                <a:gd name="connsiteX12" fmla="*/ 220493 w 678675"/>
                <a:gd name="connsiteY12" fmla="*/ 448686 h 501910"/>
                <a:gd name="connsiteX13" fmla="*/ 364984 w 678675"/>
                <a:gd name="connsiteY13" fmla="*/ 448686 h 501910"/>
                <a:gd name="connsiteX14" fmla="*/ 364984 w 678675"/>
                <a:gd name="connsiteY14" fmla="*/ 477203 h 501910"/>
                <a:gd name="connsiteX15" fmla="*/ 389692 w 678675"/>
                <a:gd name="connsiteY15" fmla="*/ 501911 h 501910"/>
                <a:gd name="connsiteX16" fmla="*/ 407667 w 678675"/>
                <a:gd name="connsiteY16" fmla="*/ 501911 h 501910"/>
                <a:gd name="connsiteX17" fmla="*/ 432375 w 678675"/>
                <a:gd name="connsiteY17" fmla="*/ 477847 h 501910"/>
                <a:gd name="connsiteX18" fmla="*/ 441014 w 678675"/>
                <a:gd name="connsiteY18" fmla="*/ 354200 h 501910"/>
                <a:gd name="connsiteX19" fmla="*/ 425801 w 678675"/>
                <a:gd name="connsiteY19" fmla="*/ 288983 h 501910"/>
                <a:gd name="connsiteX20" fmla="*/ 425801 w 678675"/>
                <a:gd name="connsiteY20" fmla="*/ 24708 h 501910"/>
                <a:gd name="connsiteX21" fmla="*/ 105323 w 678675"/>
                <a:gd name="connsiteY21" fmla="*/ 410645 h 501910"/>
                <a:gd name="connsiteX22" fmla="*/ 36806 w 678675"/>
                <a:gd name="connsiteY22" fmla="*/ 410645 h 501910"/>
                <a:gd name="connsiteX23" fmla="*/ 34177 w 678675"/>
                <a:gd name="connsiteY23" fmla="*/ 372630 h 501910"/>
                <a:gd name="connsiteX24" fmla="*/ 81957 w 678675"/>
                <a:gd name="connsiteY24" fmla="*/ 375984 h 501910"/>
                <a:gd name="connsiteX25" fmla="*/ 105323 w 678675"/>
                <a:gd name="connsiteY25" fmla="*/ 403589 h 501910"/>
                <a:gd name="connsiteX26" fmla="*/ 105323 w 678675"/>
                <a:gd name="connsiteY26" fmla="*/ 410645 h 501910"/>
                <a:gd name="connsiteX27" fmla="*/ 45579 w 678675"/>
                <a:gd name="connsiteY27" fmla="*/ 293436 h 501910"/>
                <a:gd name="connsiteX28" fmla="*/ 66933 w 678675"/>
                <a:gd name="connsiteY28" fmla="*/ 193263 h 501910"/>
                <a:gd name="connsiteX29" fmla="*/ 84801 w 678675"/>
                <a:gd name="connsiteY29" fmla="*/ 182506 h 501910"/>
                <a:gd name="connsiteX30" fmla="*/ 356185 w 678675"/>
                <a:gd name="connsiteY30" fmla="*/ 182506 h 501910"/>
                <a:gd name="connsiteX31" fmla="*/ 374053 w 678675"/>
                <a:gd name="connsiteY31" fmla="*/ 193263 h 501910"/>
                <a:gd name="connsiteX32" fmla="*/ 395407 w 678675"/>
                <a:gd name="connsiteY32" fmla="*/ 293436 h 501910"/>
                <a:gd name="connsiteX33" fmla="*/ 220493 w 678675"/>
                <a:gd name="connsiteY33" fmla="*/ 304194 h 501910"/>
                <a:gd name="connsiteX34" fmla="*/ 45579 w 678675"/>
                <a:gd name="connsiteY34" fmla="*/ 293436 h 501910"/>
                <a:gd name="connsiteX35" fmla="*/ 404180 w 678675"/>
                <a:gd name="connsiteY35" fmla="*/ 410645 h 501910"/>
                <a:gd name="connsiteX36" fmla="*/ 335663 w 678675"/>
                <a:gd name="connsiteY36" fmla="*/ 410645 h 501910"/>
                <a:gd name="connsiteX37" fmla="*/ 335663 w 678675"/>
                <a:gd name="connsiteY37" fmla="*/ 403562 h 501910"/>
                <a:gd name="connsiteX38" fmla="*/ 359029 w 678675"/>
                <a:gd name="connsiteY38" fmla="*/ 375957 h 501910"/>
                <a:gd name="connsiteX39" fmla="*/ 406809 w 678675"/>
                <a:gd name="connsiteY39" fmla="*/ 372604 h 501910"/>
                <a:gd name="connsiteX40" fmla="*/ 404180 w 678675"/>
                <a:gd name="connsiteY40" fmla="*/ 410645 h 501910"/>
                <a:gd name="connsiteX41" fmla="*/ 526565 w 678675"/>
                <a:gd name="connsiteY41" fmla="*/ 401121 h 501910"/>
                <a:gd name="connsiteX42" fmla="*/ 526565 w 678675"/>
                <a:gd name="connsiteY42" fmla="*/ 201526 h 501910"/>
                <a:gd name="connsiteX43" fmla="*/ 463843 w 678675"/>
                <a:gd name="connsiteY43" fmla="*/ 201526 h 501910"/>
                <a:gd name="connsiteX44" fmla="*/ 463843 w 678675"/>
                <a:gd name="connsiteY44" fmla="*/ 231948 h 501910"/>
                <a:gd name="connsiteX45" fmla="*/ 494265 w 678675"/>
                <a:gd name="connsiteY45" fmla="*/ 231948 h 501910"/>
                <a:gd name="connsiteX46" fmla="*/ 494265 w 678675"/>
                <a:gd name="connsiteY46" fmla="*/ 433475 h 501910"/>
                <a:gd name="connsiteX47" fmla="*/ 678676 w 678675"/>
                <a:gd name="connsiteY47" fmla="*/ 433475 h 501910"/>
                <a:gd name="connsiteX48" fmla="*/ 678676 w 678675"/>
                <a:gd name="connsiteY48" fmla="*/ 401121 h 501910"/>
                <a:gd name="connsiteX49" fmla="*/ 526565 w 678675"/>
                <a:gd name="connsiteY49" fmla="*/ 401121 h 501910"/>
                <a:gd name="connsiteX50" fmla="*/ 665370 w 678675"/>
                <a:gd name="connsiteY50" fmla="*/ 258561 h 501910"/>
                <a:gd name="connsiteX51" fmla="*/ 553205 w 678675"/>
                <a:gd name="connsiteY51" fmla="*/ 258561 h 501910"/>
                <a:gd name="connsiteX52" fmla="*/ 553205 w 678675"/>
                <a:gd name="connsiteY52" fmla="*/ 374535 h 501910"/>
                <a:gd name="connsiteX53" fmla="*/ 665370 w 678675"/>
                <a:gd name="connsiteY53" fmla="*/ 374535 h 501910"/>
                <a:gd name="connsiteX54" fmla="*/ 665370 w 678675"/>
                <a:gd name="connsiteY54" fmla="*/ 258561 h 501910"/>
                <a:gd name="connsiteX55" fmla="*/ 539871 w 678675"/>
                <a:gd name="connsiteY55" fmla="*/ 452468 h 501910"/>
                <a:gd name="connsiteX56" fmla="*/ 515163 w 678675"/>
                <a:gd name="connsiteY56" fmla="*/ 477176 h 501910"/>
                <a:gd name="connsiteX57" fmla="*/ 539871 w 678675"/>
                <a:gd name="connsiteY57" fmla="*/ 501884 h 501910"/>
                <a:gd name="connsiteX58" fmla="*/ 564579 w 678675"/>
                <a:gd name="connsiteY58" fmla="*/ 477176 h 501910"/>
                <a:gd name="connsiteX59" fmla="*/ 539871 w 678675"/>
                <a:gd name="connsiteY59" fmla="*/ 452468 h 501910"/>
                <a:gd name="connsiteX60" fmla="*/ 631137 w 678675"/>
                <a:gd name="connsiteY60" fmla="*/ 452468 h 501910"/>
                <a:gd name="connsiteX61" fmla="*/ 606429 w 678675"/>
                <a:gd name="connsiteY61" fmla="*/ 477176 h 501910"/>
                <a:gd name="connsiteX62" fmla="*/ 631137 w 678675"/>
                <a:gd name="connsiteY62" fmla="*/ 501884 h 501910"/>
                <a:gd name="connsiteX63" fmla="*/ 655845 w 678675"/>
                <a:gd name="connsiteY63" fmla="*/ 477176 h 501910"/>
                <a:gd name="connsiteX64" fmla="*/ 631137 w 678675"/>
                <a:gd name="connsiteY64" fmla="*/ 452468 h 50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78675" h="501910">
                  <a:moveTo>
                    <a:pt x="425829" y="24708"/>
                  </a:moveTo>
                  <a:cubicBezTo>
                    <a:pt x="425829" y="11053"/>
                    <a:pt x="414750" y="0"/>
                    <a:pt x="401121" y="0"/>
                  </a:cubicBezTo>
                  <a:lnTo>
                    <a:pt x="220519" y="0"/>
                  </a:lnTo>
                  <a:lnTo>
                    <a:pt x="39919" y="0"/>
                  </a:lnTo>
                  <a:cubicBezTo>
                    <a:pt x="26264" y="0"/>
                    <a:pt x="15211" y="11053"/>
                    <a:pt x="15211" y="24708"/>
                  </a:cubicBezTo>
                  <a:lnTo>
                    <a:pt x="15211" y="288983"/>
                  </a:lnTo>
                  <a:cubicBezTo>
                    <a:pt x="8611" y="313128"/>
                    <a:pt x="0" y="317152"/>
                    <a:pt x="0" y="354200"/>
                  </a:cubicBezTo>
                  <a:lnTo>
                    <a:pt x="8638" y="477847"/>
                  </a:lnTo>
                  <a:cubicBezTo>
                    <a:pt x="8987" y="491207"/>
                    <a:pt x="19906" y="501911"/>
                    <a:pt x="33347" y="501911"/>
                  </a:cubicBezTo>
                  <a:lnTo>
                    <a:pt x="51320" y="501911"/>
                  </a:lnTo>
                  <a:cubicBezTo>
                    <a:pt x="64975" y="501911"/>
                    <a:pt x="76028" y="490858"/>
                    <a:pt x="76028" y="477203"/>
                  </a:cubicBezTo>
                  <a:lnTo>
                    <a:pt x="76028" y="448686"/>
                  </a:lnTo>
                  <a:lnTo>
                    <a:pt x="220493" y="448686"/>
                  </a:lnTo>
                  <a:lnTo>
                    <a:pt x="364984" y="448686"/>
                  </a:lnTo>
                  <a:lnTo>
                    <a:pt x="364984" y="477203"/>
                  </a:lnTo>
                  <a:cubicBezTo>
                    <a:pt x="364984" y="490858"/>
                    <a:pt x="376037" y="501911"/>
                    <a:pt x="389692" y="501911"/>
                  </a:cubicBezTo>
                  <a:lnTo>
                    <a:pt x="407667" y="501911"/>
                  </a:lnTo>
                  <a:cubicBezTo>
                    <a:pt x="421107" y="501911"/>
                    <a:pt x="432026" y="491180"/>
                    <a:pt x="432375" y="477847"/>
                  </a:cubicBezTo>
                  <a:lnTo>
                    <a:pt x="441014" y="354200"/>
                  </a:lnTo>
                  <a:cubicBezTo>
                    <a:pt x="441014" y="317152"/>
                    <a:pt x="432402" y="313128"/>
                    <a:pt x="425801" y="288983"/>
                  </a:cubicBezTo>
                  <a:lnTo>
                    <a:pt x="425801" y="24708"/>
                  </a:lnTo>
                  <a:close/>
                  <a:moveTo>
                    <a:pt x="105323" y="410645"/>
                  </a:moveTo>
                  <a:lnTo>
                    <a:pt x="36806" y="410645"/>
                  </a:lnTo>
                  <a:lnTo>
                    <a:pt x="34177" y="372630"/>
                  </a:lnTo>
                  <a:lnTo>
                    <a:pt x="81957" y="375984"/>
                  </a:lnTo>
                  <a:cubicBezTo>
                    <a:pt x="95907" y="376520"/>
                    <a:pt x="105323" y="387600"/>
                    <a:pt x="105323" y="403589"/>
                  </a:cubicBezTo>
                  <a:lnTo>
                    <a:pt x="105323" y="410645"/>
                  </a:lnTo>
                  <a:close/>
                  <a:moveTo>
                    <a:pt x="45579" y="293436"/>
                  </a:moveTo>
                  <a:lnTo>
                    <a:pt x="66933" y="193263"/>
                  </a:lnTo>
                  <a:cubicBezTo>
                    <a:pt x="72299" y="183123"/>
                    <a:pt x="73319" y="182506"/>
                    <a:pt x="84801" y="182506"/>
                  </a:cubicBezTo>
                  <a:lnTo>
                    <a:pt x="356185" y="182506"/>
                  </a:lnTo>
                  <a:cubicBezTo>
                    <a:pt x="367667" y="182506"/>
                    <a:pt x="368660" y="183096"/>
                    <a:pt x="374053" y="193263"/>
                  </a:cubicBezTo>
                  <a:lnTo>
                    <a:pt x="395407" y="293436"/>
                  </a:lnTo>
                  <a:lnTo>
                    <a:pt x="220493" y="304194"/>
                  </a:lnTo>
                  <a:lnTo>
                    <a:pt x="45579" y="293436"/>
                  </a:lnTo>
                  <a:close/>
                  <a:moveTo>
                    <a:pt x="404180" y="410645"/>
                  </a:moveTo>
                  <a:lnTo>
                    <a:pt x="335663" y="410645"/>
                  </a:lnTo>
                  <a:lnTo>
                    <a:pt x="335663" y="403562"/>
                  </a:lnTo>
                  <a:cubicBezTo>
                    <a:pt x="335663" y="387573"/>
                    <a:pt x="345079" y="376494"/>
                    <a:pt x="359029" y="375957"/>
                  </a:cubicBezTo>
                  <a:lnTo>
                    <a:pt x="406809" y="372604"/>
                  </a:lnTo>
                  <a:lnTo>
                    <a:pt x="404180" y="410645"/>
                  </a:lnTo>
                  <a:close/>
                  <a:moveTo>
                    <a:pt x="526565" y="401121"/>
                  </a:moveTo>
                  <a:lnTo>
                    <a:pt x="526565" y="201526"/>
                  </a:lnTo>
                  <a:lnTo>
                    <a:pt x="463843" y="201526"/>
                  </a:lnTo>
                  <a:lnTo>
                    <a:pt x="463843" y="231948"/>
                  </a:lnTo>
                  <a:lnTo>
                    <a:pt x="494265" y="231948"/>
                  </a:lnTo>
                  <a:lnTo>
                    <a:pt x="494265" y="433475"/>
                  </a:lnTo>
                  <a:lnTo>
                    <a:pt x="678676" y="433475"/>
                  </a:lnTo>
                  <a:lnTo>
                    <a:pt x="678676" y="401121"/>
                  </a:lnTo>
                  <a:lnTo>
                    <a:pt x="526565" y="401121"/>
                  </a:lnTo>
                  <a:close/>
                  <a:moveTo>
                    <a:pt x="665370" y="258561"/>
                  </a:moveTo>
                  <a:lnTo>
                    <a:pt x="553205" y="258561"/>
                  </a:lnTo>
                  <a:lnTo>
                    <a:pt x="553205" y="374535"/>
                  </a:lnTo>
                  <a:lnTo>
                    <a:pt x="665370" y="374535"/>
                  </a:lnTo>
                  <a:lnTo>
                    <a:pt x="665370" y="258561"/>
                  </a:lnTo>
                  <a:close/>
                  <a:moveTo>
                    <a:pt x="539871" y="452468"/>
                  </a:moveTo>
                  <a:cubicBezTo>
                    <a:pt x="526216" y="452468"/>
                    <a:pt x="515163" y="463521"/>
                    <a:pt x="515163" y="477176"/>
                  </a:cubicBezTo>
                  <a:cubicBezTo>
                    <a:pt x="515163" y="490831"/>
                    <a:pt x="526244" y="501884"/>
                    <a:pt x="539871" y="501884"/>
                  </a:cubicBezTo>
                  <a:cubicBezTo>
                    <a:pt x="553527" y="501884"/>
                    <a:pt x="564579" y="490804"/>
                    <a:pt x="564579" y="477176"/>
                  </a:cubicBezTo>
                  <a:cubicBezTo>
                    <a:pt x="564579" y="463548"/>
                    <a:pt x="553527" y="452468"/>
                    <a:pt x="539871" y="452468"/>
                  </a:cubicBezTo>
                  <a:close/>
                  <a:moveTo>
                    <a:pt x="631137" y="452468"/>
                  </a:moveTo>
                  <a:cubicBezTo>
                    <a:pt x="617483" y="452468"/>
                    <a:pt x="606429" y="463521"/>
                    <a:pt x="606429" y="477176"/>
                  </a:cubicBezTo>
                  <a:cubicBezTo>
                    <a:pt x="606429" y="490831"/>
                    <a:pt x="617510" y="501884"/>
                    <a:pt x="631137" y="501884"/>
                  </a:cubicBezTo>
                  <a:cubicBezTo>
                    <a:pt x="644766" y="501884"/>
                    <a:pt x="655845" y="490804"/>
                    <a:pt x="655845" y="477176"/>
                  </a:cubicBezTo>
                  <a:cubicBezTo>
                    <a:pt x="655845" y="463548"/>
                    <a:pt x="644793" y="452468"/>
                    <a:pt x="631137" y="452468"/>
                  </a:cubicBezTo>
                  <a:close/>
                </a:path>
              </a:pathLst>
            </a:custGeom>
            <a:solidFill>
              <a:srgbClr val="00C1B6"/>
            </a:solidFill>
            <a:ln w="2681" cap="flat">
              <a:noFill/>
              <a:prstDash val="solid"/>
              <a:miter/>
            </a:ln>
          </p:spPr>
          <p:txBody>
            <a:bodyPr lIns="212980" tIns="106491" rIns="212980" bIns="106491" rtlCol="0" anchor="ctr"/>
            <a:lstStyle/>
            <a:p>
              <a:pPr algn="l" defTabSz="1828709" hangingPunct="1"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5" name="Freeform 79">
              <a:extLst>
                <a:ext uri="{FF2B5EF4-FFF2-40B4-BE49-F238E27FC236}">
                  <a16:creationId xmlns:a16="http://schemas.microsoft.com/office/drawing/2014/main" id="{B1A8327A-BF26-44FC-13FB-0AB9EC417EA3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823821" y="9637880"/>
              <a:ext cx="1030963" cy="1030963"/>
            </a:xfrm>
            <a:custGeom>
              <a:avLst/>
              <a:gdLst>
                <a:gd name="T0" fmla="*/ 351 w 703"/>
                <a:gd name="T1" fmla="*/ 0 h 703"/>
                <a:gd name="T2" fmla="*/ 0 w 703"/>
                <a:gd name="T3" fmla="*/ 351 h 703"/>
                <a:gd name="T4" fmla="*/ 351 w 703"/>
                <a:gd name="T5" fmla="*/ 703 h 703"/>
                <a:gd name="T6" fmla="*/ 703 w 703"/>
                <a:gd name="T7" fmla="*/ 351 h 703"/>
                <a:gd name="T8" fmla="*/ 351 w 703"/>
                <a:gd name="T9" fmla="*/ 0 h 703"/>
                <a:gd name="T10" fmla="*/ 446 w 703"/>
                <a:gd name="T11" fmla="*/ 392 h 703"/>
                <a:gd name="T12" fmla="*/ 512 w 703"/>
                <a:gd name="T13" fmla="*/ 392 h 703"/>
                <a:gd name="T14" fmla="*/ 530 w 703"/>
                <a:gd name="T15" fmla="*/ 528 h 703"/>
                <a:gd name="T16" fmla="*/ 575 w 703"/>
                <a:gd name="T17" fmla="*/ 528 h 703"/>
                <a:gd name="T18" fmla="*/ 351 w 703"/>
                <a:gd name="T19" fmla="*/ 637 h 703"/>
                <a:gd name="T20" fmla="*/ 351 w 703"/>
                <a:gd name="T21" fmla="*/ 637 h 703"/>
                <a:gd name="T22" fmla="*/ 65 w 703"/>
                <a:gd name="T23" fmla="*/ 351 h 703"/>
                <a:gd name="T24" fmla="*/ 83 w 703"/>
                <a:gd name="T25" fmla="*/ 253 h 703"/>
                <a:gd name="T26" fmla="*/ 106 w 703"/>
                <a:gd name="T27" fmla="*/ 333 h 703"/>
                <a:gd name="T28" fmla="*/ 154 w 703"/>
                <a:gd name="T29" fmla="*/ 404 h 703"/>
                <a:gd name="T30" fmla="*/ 206 w 703"/>
                <a:gd name="T31" fmla="*/ 404 h 703"/>
                <a:gd name="T32" fmla="*/ 206 w 703"/>
                <a:gd name="T33" fmla="*/ 439 h 703"/>
                <a:gd name="T34" fmla="*/ 243 w 703"/>
                <a:gd name="T35" fmla="*/ 483 h 703"/>
                <a:gd name="T36" fmla="*/ 243 w 703"/>
                <a:gd name="T37" fmla="*/ 563 h 703"/>
                <a:gd name="T38" fmla="*/ 278 w 703"/>
                <a:gd name="T39" fmla="*/ 602 h 703"/>
                <a:gd name="T40" fmla="*/ 376 w 703"/>
                <a:gd name="T41" fmla="*/ 444 h 703"/>
                <a:gd name="T42" fmla="*/ 376 w 703"/>
                <a:gd name="T43" fmla="*/ 377 h 703"/>
                <a:gd name="T44" fmla="*/ 233 w 703"/>
                <a:gd name="T45" fmla="*/ 338 h 703"/>
                <a:gd name="T46" fmla="*/ 214 w 703"/>
                <a:gd name="T47" fmla="*/ 338 h 703"/>
                <a:gd name="T48" fmla="*/ 198 w 703"/>
                <a:gd name="T49" fmla="*/ 315 h 703"/>
                <a:gd name="T50" fmla="*/ 231 w 703"/>
                <a:gd name="T51" fmla="*/ 274 h 703"/>
                <a:gd name="T52" fmla="*/ 285 w 703"/>
                <a:gd name="T53" fmla="*/ 274 h 703"/>
                <a:gd name="T54" fmla="*/ 316 w 703"/>
                <a:gd name="T55" fmla="*/ 171 h 703"/>
                <a:gd name="T56" fmla="*/ 249 w 703"/>
                <a:gd name="T57" fmla="*/ 111 h 703"/>
                <a:gd name="T58" fmla="*/ 196 w 703"/>
                <a:gd name="T59" fmla="*/ 111 h 703"/>
                <a:gd name="T60" fmla="*/ 351 w 703"/>
                <a:gd name="T61" fmla="*/ 66 h 703"/>
                <a:gd name="T62" fmla="*/ 463 w 703"/>
                <a:gd name="T63" fmla="*/ 88 h 703"/>
                <a:gd name="T64" fmla="*/ 463 w 703"/>
                <a:gd name="T65" fmla="*/ 125 h 703"/>
                <a:gd name="T66" fmla="*/ 422 w 703"/>
                <a:gd name="T67" fmla="*/ 143 h 703"/>
                <a:gd name="T68" fmla="*/ 449 w 703"/>
                <a:gd name="T69" fmla="*/ 203 h 703"/>
                <a:gd name="T70" fmla="*/ 485 w 703"/>
                <a:gd name="T71" fmla="*/ 187 h 703"/>
                <a:gd name="T72" fmla="*/ 585 w 703"/>
                <a:gd name="T73" fmla="*/ 187 h 703"/>
                <a:gd name="T74" fmla="*/ 619 w 703"/>
                <a:gd name="T75" fmla="*/ 253 h 703"/>
                <a:gd name="T76" fmla="*/ 494 w 703"/>
                <a:gd name="T77" fmla="*/ 253 h 703"/>
                <a:gd name="T78" fmla="*/ 435 w 703"/>
                <a:gd name="T79" fmla="*/ 319 h 703"/>
                <a:gd name="T80" fmla="*/ 446 w 703"/>
                <a:gd name="T81" fmla="*/ 392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03" h="703">
                  <a:moveTo>
                    <a:pt x="351" y="0"/>
                  </a:moveTo>
                  <a:cubicBezTo>
                    <a:pt x="157" y="0"/>
                    <a:pt x="0" y="157"/>
                    <a:pt x="0" y="351"/>
                  </a:cubicBezTo>
                  <a:cubicBezTo>
                    <a:pt x="0" y="545"/>
                    <a:pt x="157" y="703"/>
                    <a:pt x="351" y="703"/>
                  </a:cubicBezTo>
                  <a:cubicBezTo>
                    <a:pt x="545" y="703"/>
                    <a:pt x="703" y="545"/>
                    <a:pt x="703" y="351"/>
                  </a:cubicBezTo>
                  <a:cubicBezTo>
                    <a:pt x="703" y="157"/>
                    <a:pt x="545" y="0"/>
                    <a:pt x="351" y="0"/>
                  </a:cubicBezTo>
                  <a:close/>
                  <a:moveTo>
                    <a:pt x="446" y="392"/>
                  </a:moveTo>
                  <a:cubicBezTo>
                    <a:pt x="512" y="392"/>
                    <a:pt x="512" y="392"/>
                    <a:pt x="512" y="392"/>
                  </a:cubicBezTo>
                  <a:cubicBezTo>
                    <a:pt x="530" y="528"/>
                    <a:pt x="530" y="528"/>
                    <a:pt x="530" y="528"/>
                  </a:cubicBezTo>
                  <a:cubicBezTo>
                    <a:pt x="575" y="528"/>
                    <a:pt x="575" y="528"/>
                    <a:pt x="575" y="528"/>
                  </a:cubicBezTo>
                  <a:cubicBezTo>
                    <a:pt x="523" y="594"/>
                    <a:pt x="442" y="637"/>
                    <a:pt x="351" y="637"/>
                  </a:cubicBezTo>
                  <a:cubicBezTo>
                    <a:pt x="351" y="637"/>
                    <a:pt x="351" y="637"/>
                    <a:pt x="351" y="637"/>
                  </a:cubicBezTo>
                  <a:cubicBezTo>
                    <a:pt x="194" y="637"/>
                    <a:pt x="65" y="509"/>
                    <a:pt x="65" y="351"/>
                  </a:cubicBezTo>
                  <a:cubicBezTo>
                    <a:pt x="65" y="317"/>
                    <a:pt x="72" y="283"/>
                    <a:pt x="83" y="253"/>
                  </a:cubicBezTo>
                  <a:cubicBezTo>
                    <a:pt x="106" y="333"/>
                    <a:pt x="106" y="333"/>
                    <a:pt x="106" y="333"/>
                  </a:cubicBezTo>
                  <a:cubicBezTo>
                    <a:pt x="154" y="404"/>
                    <a:pt x="154" y="404"/>
                    <a:pt x="154" y="404"/>
                  </a:cubicBezTo>
                  <a:cubicBezTo>
                    <a:pt x="206" y="404"/>
                    <a:pt x="206" y="404"/>
                    <a:pt x="206" y="404"/>
                  </a:cubicBezTo>
                  <a:cubicBezTo>
                    <a:pt x="206" y="439"/>
                    <a:pt x="206" y="439"/>
                    <a:pt x="206" y="439"/>
                  </a:cubicBezTo>
                  <a:cubicBezTo>
                    <a:pt x="243" y="483"/>
                    <a:pt x="243" y="483"/>
                    <a:pt x="243" y="483"/>
                  </a:cubicBezTo>
                  <a:cubicBezTo>
                    <a:pt x="243" y="563"/>
                    <a:pt x="243" y="563"/>
                    <a:pt x="243" y="563"/>
                  </a:cubicBezTo>
                  <a:cubicBezTo>
                    <a:pt x="278" y="602"/>
                    <a:pt x="278" y="602"/>
                    <a:pt x="278" y="602"/>
                  </a:cubicBezTo>
                  <a:cubicBezTo>
                    <a:pt x="376" y="444"/>
                    <a:pt x="376" y="444"/>
                    <a:pt x="376" y="444"/>
                  </a:cubicBezTo>
                  <a:cubicBezTo>
                    <a:pt x="376" y="377"/>
                    <a:pt x="376" y="377"/>
                    <a:pt x="376" y="377"/>
                  </a:cubicBezTo>
                  <a:cubicBezTo>
                    <a:pt x="233" y="338"/>
                    <a:pt x="233" y="338"/>
                    <a:pt x="233" y="338"/>
                  </a:cubicBezTo>
                  <a:cubicBezTo>
                    <a:pt x="214" y="338"/>
                    <a:pt x="214" y="338"/>
                    <a:pt x="214" y="338"/>
                  </a:cubicBezTo>
                  <a:cubicBezTo>
                    <a:pt x="198" y="315"/>
                    <a:pt x="198" y="315"/>
                    <a:pt x="198" y="315"/>
                  </a:cubicBezTo>
                  <a:cubicBezTo>
                    <a:pt x="231" y="274"/>
                    <a:pt x="231" y="274"/>
                    <a:pt x="231" y="274"/>
                  </a:cubicBezTo>
                  <a:cubicBezTo>
                    <a:pt x="285" y="274"/>
                    <a:pt x="285" y="274"/>
                    <a:pt x="285" y="274"/>
                  </a:cubicBezTo>
                  <a:cubicBezTo>
                    <a:pt x="316" y="171"/>
                    <a:pt x="316" y="171"/>
                    <a:pt x="316" y="171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196" y="111"/>
                    <a:pt x="196" y="111"/>
                    <a:pt x="196" y="111"/>
                  </a:cubicBezTo>
                  <a:cubicBezTo>
                    <a:pt x="241" y="83"/>
                    <a:pt x="294" y="66"/>
                    <a:pt x="351" y="66"/>
                  </a:cubicBezTo>
                  <a:cubicBezTo>
                    <a:pt x="391" y="66"/>
                    <a:pt x="429" y="74"/>
                    <a:pt x="463" y="88"/>
                  </a:cubicBezTo>
                  <a:cubicBezTo>
                    <a:pt x="463" y="125"/>
                    <a:pt x="463" y="125"/>
                    <a:pt x="463" y="125"/>
                  </a:cubicBezTo>
                  <a:cubicBezTo>
                    <a:pt x="422" y="143"/>
                    <a:pt x="422" y="143"/>
                    <a:pt x="422" y="143"/>
                  </a:cubicBezTo>
                  <a:cubicBezTo>
                    <a:pt x="449" y="203"/>
                    <a:pt x="449" y="203"/>
                    <a:pt x="449" y="203"/>
                  </a:cubicBezTo>
                  <a:cubicBezTo>
                    <a:pt x="485" y="187"/>
                    <a:pt x="485" y="187"/>
                    <a:pt x="485" y="187"/>
                  </a:cubicBezTo>
                  <a:cubicBezTo>
                    <a:pt x="585" y="187"/>
                    <a:pt x="585" y="187"/>
                    <a:pt x="585" y="187"/>
                  </a:cubicBezTo>
                  <a:cubicBezTo>
                    <a:pt x="599" y="208"/>
                    <a:pt x="611" y="230"/>
                    <a:pt x="619" y="253"/>
                  </a:cubicBezTo>
                  <a:cubicBezTo>
                    <a:pt x="494" y="253"/>
                    <a:pt x="494" y="253"/>
                    <a:pt x="494" y="253"/>
                  </a:cubicBezTo>
                  <a:cubicBezTo>
                    <a:pt x="435" y="319"/>
                    <a:pt x="435" y="319"/>
                    <a:pt x="435" y="319"/>
                  </a:cubicBezTo>
                  <a:lnTo>
                    <a:pt x="446" y="392"/>
                  </a:lnTo>
                  <a:close/>
                </a:path>
              </a:pathLst>
            </a:custGeom>
            <a:solidFill>
              <a:srgbClr val="00C1B6"/>
            </a:solidFill>
            <a:ln>
              <a:noFill/>
            </a:ln>
          </p:spPr>
          <p:txBody>
            <a:bodyPr vert="horz" wrap="square" lIns="182772" tIns="91386" rIns="182772" bIns="91386" numCol="1" anchor="t" anchorCtr="0" compatLnSpc="1">
              <a:prstTxWarp prst="textNoShape">
                <a:avLst/>
              </a:prstTxWarp>
            </a:bodyPr>
            <a:lstStyle/>
            <a:p>
              <a:pPr algn="l" defTabSz="1828709" hangingPunct="1">
                <a:lnSpc>
                  <a:spcPct val="110000"/>
                </a:lnSpc>
                <a:spcBef>
                  <a:spcPct val="0"/>
                </a:spcBef>
                <a:defRPr/>
              </a:pPr>
              <a:endParaRPr lang="en-US" sz="2798" kern="1400">
                <a:solidFill>
                  <a:srgbClr val="000000"/>
                </a:solidFill>
                <a:latin typeface="Siemens Sans" pitchFamily="2" charset="0"/>
                <a:ea typeface="ＭＳ Ｐゴシック" pitchFamily="34" charset="-128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52A6466-C3A7-9BF5-4FFF-6A0023C31F8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814683" y="7373124"/>
              <a:ext cx="895238" cy="1026127"/>
            </a:xfrm>
            <a:custGeom>
              <a:avLst/>
              <a:gdLst>
                <a:gd name="connsiteX0" fmla="*/ 433786 w 457200"/>
                <a:gd name="connsiteY0" fmla="*/ 409088 h 524045"/>
                <a:gd name="connsiteX1" fmla="*/ 457200 w 457200"/>
                <a:gd name="connsiteY1" fmla="*/ 496157 h 524045"/>
                <a:gd name="connsiteX2" fmla="*/ 308674 w 457200"/>
                <a:gd name="connsiteY2" fmla="*/ 523960 h 524045"/>
                <a:gd name="connsiteX3" fmla="*/ 183456 w 457200"/>
                <a:gd name="connsiteY3" fmla="*/ 495232 h 524045"/>
                <a:gd name="connsiteX4" fmla="*/ 101106 w 457200"/>
                <a:gd name="connsiteY4" fmla="*/ 411951 h 524045"/>
                <a:gd name="connsiteX5" fmla="*/ 75990 w 457200"/>
                <a:gd name="connsiteY5" fmla="*/ 338223 h 524045"/>
                <a:gd name="connsiteX6" fmla="*/ 0 w 457200"/>
                <a:gd name="connsiteY6" fmla="*/ 338223 h 524045"/>
                <a:gd name="connsiteX7" fmla="*/ 15875 w 457200"/>
                <a:gd name="connsiteY7" fmla="*/ 290598 h 524045"/>
                <a:gd name="connsiteX8" fmla="*/ 70385 w 457200"/>
                <a:gd name="connsiteY8" fmla="*/ 290598 h 524045"/>
                <a:gd name="connsiteX9" fmla="*/ 70329 w 457200"/>
                <a:gd name="connsiteY9" fmla="*/ 289817 h 524045"/>
                <a:gd name="connsiteX10" fmla="*/ 69785 w 457200"/>
                <a:gd name="connsiteY10" fmla="*/ 258007 h 524045"/>
                <a:gd name="connsiteX11" fmla="*/ 70461 w 457200"/>
                <a:gd name="connsiteY11" fmla="*/ 242973 h 524045"/>
                <a:gd name="connsiteX12" fmla="*/ 0 w 457200"/>
                <a:gd name="connsiteY12" fmla="*/ 242973 h 524045"/>
                <a:gd name="connsiteX13" fmla="*/ 15875 w 457200"/>
                <a:gd name="connsiteY13" fmla="*/ 195348 h 524045"/>
                <a:gd name="connsiteX14" fmla="*/ 76341 w 457200"/>
                <a:gd name="connsiteY14" fmla="*/ 195348 h 524045"/>
                <a:gd name="connsiteX15" fmla="*/ 114941 w 457200"/>
                <a:gd name="connsiteY15" fmla="*/ 96242 h 524045"/>
                <a:gd name="connsiteX16" fmla="*/ 206891 w 457200"/>
                <a:gd name="connsiteY16" fmla="*/ 18294 h 524045"/>
                <a:gd name="connsiteX17" fmla="*/ 302818 w 457200"/>
                <a:gd name="connsiteY17" fmla="*/ 85 h 524045"/>
                <a:gd name="connsiteX18" fmla="*/ 457200 w 457200"/>
                <a:gd name="connsiteY18" fmla="*/ 33011 h 524045"/>
                <a:gd name="connsiteX19" fmla="*/ 427198 w 457200"/>
                <a:gd name="connsiteY19" fmla="*/ 117153 h 524045"/>
                <a:gd name="connsiteX20" fmla="*/ 318186 w 457200"/>
                <a:gd name="connsiteY20" fmla="*/ 86422 h 524045"/>
                <a:gd name="connsiteX21" fmla="*/ 214337 w 457200"/>
                <a:gd name="connsiteY21" fmla="*/ 131475 h 524045"/>
                <a:gd name="connsiteX22" fmla="*/ 188584 w 457200"/>
                <a:gd name="connsiteY22" fmla="*/ 195348 h 524045"/>
                <a:gd name="connsiteX23" fmla="*/ 396875 w 457200"/>
                <a:gd name="connsiteY23" fmla="*/ 195348 h 524045"/>
                <a:gd name="connsiteX24" fmla="*/ 381000 w 457200"/>
                <a:gd name="connsiteY24" fmla="*/ 242973 h 524045"/>
                <a:gd name="connsiteX25" fmla="*/ 183024 w 457200"/>
                <a:gd name="connsiteY25" fmla="*/ 242973 h 524045"/>
                <a:gd name="connsiteX26" fmla="*/ 184677 w 457200"/>
                <a:gd name="connsiteY26" fmla="*/ 290598 h 524045"/>
                <a:gd name="connsiteX27" fmla="*/ 365443 w 457200"/>
                <a:gd name="connsiteY27" fmla="*/ 290598 h 524045"/>
                <a:gd name="connsiteX28" fmla="*/ 349567 w 457200"/>
                <a:gd name="connsiteY28" fmla="*/ 338223 h 524045"/>
                <a:gd name="connsiteX29" fmla="*/ 194442 w 457200"/>
                <a:gd name="connsiteY29" fmla="*/ 338223 h 524045"/>
                <a:gd name="connsiteX30" fmla="*/ 237487 w 457200"/>
                <a:gd name="connsiteY30" fmla="*/ 410980 h 524045"/>
                <a:gd name="connsiteX31" fmla="*/ 326965 w 457200"/>
                <a:gd name="connsiteY31" fmla="*/ 437624 h 524045"/>
                <a:gd name="connsiteX32" fmla="*/ 433786 w 457200"/>
                <a:gd name="connsiteY32" fmla="*/ 409088 h 5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7200" h="524045">
                  <a:moveTo>
                    <a:pt x="433786" y="409088"/>
                  </a:moveTo>
                  <a:lnTo>
                    <a:pt x="457200" y="496157"/>
                  </a:lnTo>
                  <a:cubicBezTo>
                    <a:pt x="410145" y="515590"/>
                    <a:pt x="359572" y="525057"/>
                    <a:pt x="308674" y="523960"/>
                  </a:cubicBezTo>
                  <a:cubicBezTo>
                    <a:pt x="265202" y="524875"/>
                    <a:pt x="222181" y="515004"/>
                    <a:pt x="183456" y="495232"/>
                  </a:cubicBezTo>
                  <a:cubicBezTo>
                    <a:pt x="148419" y="476166"/>
                    <a:pt x="119777" y="447200"/>
                    <a:pt x="101106" y="411951"/>
                  </a:cubicBezTo>
                  <a:cubicBezTo>
                    <a:pt x="89030" y="388797"/>
                    <a:pt x="80560" y="363934"/>
                    <a:pt x="75990" y="338223"/>
                  </a:cubicBezTo>
                  <a:lnTo>
                    <a:pt x="0" y="338223"/>
                  </a:lnTo>
                  <a:lnTo>
                    <a:pt x="15875" y="290598"/>
                  </a:lnTo>
                  <a:lnTo>
                    <a:pt x="70385" y="290598"/>
                  </a:lnTo>
                  <a:cubicBezTo>
                    <a:pt x="70371" y="290337"/>
                    <a:pt x="70342" y="290077"/>
                    <a:pt x="70329" y="289817"/>
                  </a:cubicBezTo>
                  <a:cubicBezTo>
                    <a:pt x="69772" y="279180"/>
                    <a:pt x="69617" y="268551"/>
                    <a:pt x="69785" y="258007"/>
                  </a:cubicBezTo>
                  <a:cubicBezTo>
                    <a:pt x="69864" y="253017"/>
                    <a:pt x="70173" y="247993"/>
                    <a:pt x="70461" y="242973"/>
                  </a:cubicBezTo>
                  <a:lnTo>
                    <a:pt x="0" y="242973"/>
                  </a:lnTo>
                  <a:lnTo>
                    <a:pt x="15875" y="195348"/>
                  </a:lnTo>
                  <a:lnTo>
                    <a:pt x="76341" y="195348"/>
                  </a:lnTo>
                  <a:cubicBezTo>
                    <a:pt x="82897" y="160190"/>
                    <a:pt x="95990" y="126573"/>
                    <a:pt x="114941" y="96242"/>
                  </a:cubicBezTo>
                  <a:cubicBezTo>
                    <a:pt x="137099" y="61643"/>
                    <a:pt x="169131" y="34489"/>
                    <a:pt x="206891" y="18294"/>
                  </a:cubicBezTo>
                  <a:cubicBezTo>
                    <a:pt x="237329" y="5877"/>
                    <a:pt x="269947" y="-314"/>
                    <a:pt x="302818" y="85"/>
                  </a:cubicBezTo>
                  <a:cubicBezTo>
                    <a:pt x="356140" y="-1105"/>
                    <a:pt x="409003" y="10170"/>
                    <a:pt x="457200" y="33011"/>
                  </a:cubicBezTo>
                  <a:lnTo>
                    <a:pt x="427198" y="117153"/>
                  </a:lnTo>
                  <a:cubicBezTo>
                    <a:pt x="386960" y="95200"/>
                    <a:pt x="356224" y="86422"/>
                    <a:pt x="318186" y="86422"/>
                  </a:cubicBezTo>
                  <a:cubicBezTo>
                    <a:pt x="278390" y="86422"/>
                    <a:pt x="238760" y="98242"/>
                    <a:pt x="214337" y="131475"/>
                  </a:cubicBezTo>
                  <a:cubicBezTo>
                    <a:pt x="201112" y="150587"/>
                    <a:pt x="192315" y="172408"/>
                    <a:pt x="188584" y="195348"/>
                  </a:cubicBezTo>
                  <a:lnTo>
                    <a:pt x="396875" y="195348"/>
                  </a:lnTo>
                  <a:lnTo>
                    <a:pt x="381000" y="242973"/>
                  </a:lnTo>
                  <a:lnTo>
                    <a:pt x="183024" y="242973"/>
                  </a:lnTo>
                  <a:cubicBezTo>
                    <a:pt x="182249" y="258866"/>
                    <a:pt x="182802" y="274796"/>
                    <a:pt x="184677" y="290598"/>
                  </a:cubicBezTo>
                  <a:lnTo>
                    <a:pt x="365443" y="290598"/>
                  </a:lnTo>
                  <a:lnTo>
                    <a:pt x="349567" y="338223"/>
                  </a:lnTo>
                  <a:lnTo>
                    <a:pt x="194442" y="338223"/>
                  </a:lnTo>
                  <a:cubicBezTo>
                    <a:pt x="201086" y="366277"/>
                    <a:pt x="216097" y="391650"/>
                    <a:pt x="237487" y="410980"/>
                  </a:cubicBezTo>
                  <a:cubicBezTo>
                    <a:pt x="262422" y="431738"/>
                    <a:pt x="295345" y="437624"/>
                    <a:pt x="326965" y="437624"/>
                  </a:cubicBezTo>
                  <a:cubicBezTo>
                    <a:pt x="364452" y="437595"/>
                    <a:pt x="401279" y="427757"/>
                    <a:pt x="433786" y="409088"/>
                  </a:cubicBezTo>
                  <a:close/>
                </a:path>
              </a:pathLst>
            </a:custGeom>
            <a:solidFill>
              <a:srgbClr val="00C1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 defTabSz="1828709" hangingPunct="1"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25" name="Titel 4">
              <a:extLst>
                <a:ext uri="{FF2B5EF4-FFF2-40B4-BE49-F238E27FC236}">
                  <a16:creationId xmlns:a16="http://schemas.microsoft.com/office/drawing/2014/main" id="{612FB096-5910-E10A-3B72-259BA0E1F85E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 bwMode="black">
            <a:xfrm>
              <a:off x="822268" y="2825816"/>
              <a:ext cx="7199531" cy="1151927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8000" b="1" kern="1200">
                  <a:gradFill>
                    <a:gsLst>
                      <a:gs pos="0">
                        <a:schemeClr val="accent2"/>
                      </a:gs>
                      <a:gs pos="100000">
                        <a:schemeClr val="accent3"/>
                      </a:gs>
                    </a:gsLst>
                    <a:lin ang="0" scaled="1"/>
                  </a:gradFill>
                  <a:latin typeface="+mj-lt"/>
                  <a:ea typeface="+mj-ea"/>
                  <a:cs typeface="+mj-cs"/>
                </a:defRPr>
              </a:lvl1pPr>
            </a:lstStyle>
            <a:p>
              <a:pPr defTabSz="1828709">
                <a:lnSpc>
                  <a:spcPct val="100000"/>
                </a:lnSpc>
                <a:spcBef>
                  <a:spcPts val="0"/>
                </a:spcBef>
                <a:buClr>
                  <a:srgbClr val="009999"/>
                </a:buClr>
                <a:defRPr/>
              </a:pPr>
              <a:r>
                <a:rPr lang="en-US" sz="3600">
                  <a:solidFill>
                    <a:srgbClr val="00C1B6"/>
                  </a:solidFill>
                  <a:latin typeface="Siemens Sans" pitchFamily="2" charset="0"/>
                </a:rPr>
                <a:t>Impact through global </a:t>
              </a:r>
              <a:br>
                <a:rPr lang="en-US" sz="3600">
                  <a:solidFill>
                    <a:srgbClr val="00C1B6"/>
                  </a:solidFill>
                  <a:latin typeface="Siemens Sans" pitchFamily="2" charset="0"/>
                </a:rPr>
              </a:br>
              <a:r>
                <a:rPr lang="en-US" sz="3600">
                  <a:solidFill>
                    <a:srgbClr val="00C1B6"/>
                  </a:solidFill>
                  <a:latin typeface="Siemens Sans" pitchFamily="2" charset="0"/>
                </a:rPr>
                <a:t>supplier footprint</a:t>
              </a:r>
            </a:p>
          </p:txBody>
        </p:sp>
      </p:grp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DBF36AB-93EB-14A2-CEEF-A90E23D281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34F726-87E6-2E85-EC4F-260B124806EF}"/>
              </a:ext>
            </a:extLst>
          </p:cNvPr>
          <p:cNvGrpSpPr/>
          <p:nvPr/>
        </p:nvGrpSpPr>
        <p:grpSpPr>
          <a:xfrm>
            <a:off x="8591440" y="2825816"/>
            <a:ext cx="7199531" cy="9139343"/>
            <a:chOff x="8591440" y="2825816"/>
            <a:chExt cx="7199531" cy="9139343"/>
          </a:xfrm>
        </p:grpSpPr>
        <p:sp>
          <p:nvSpPr>
            <p:cNvPr id="36" name="Arrow: Pentagon 43">
              <a:extLst>
                <a:ext uri="{FF2B5EF4-FFF2-40B4-BE49-F238E27FC236}">
                  <a16:creationId xmlns:a16="http://schemas.microsoft.com/office/drawing/2014/main" id="{088DCF41-76F1-BF2C-31D5-387DE7658BD2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11400108" y="4409888"/>
              <a:ext cx="3887241" cy="7199531"/>
            </a:xfrm>
            <a:prstGeom prst="homePlate">
              <a:avLst>
                <a:gd name="adj" fmla="val 41864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rgbClr val="33335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986" tIns="143991" rIns="215986" bIns="143991" rtlCol="0" anchor="t" anchorCtr="0"/>
            <a:lstStyle>
              <a:defPPr>
                <a:defRPr lang="en-US"/>
              </a:defPPr>
              <a:lvl1pPr>
                <a:spcBef>
                  <a:spcPts val="0"/>
                </a:spcBef>
                <a:buClr>
                  <a:schemeClr val="accent1"/>
                </a:buClr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>
                <a:spcBef>
                  <a:spcPts val="0"/>
                </a:spcBef>
                <a:buClr>
                  <a:schemeClr val="accent1"/>
                </a:buClr>
                <a:buFont typeface="Siemens Sans" panose="020B0604020202020204" pitchFamily="34" charset="0"/>
                <a:buChar char="•"/>
                <a:defRPr sz="18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1828709" hangingPunct="1">
                <a:buClr>
                  <a:srgbClr val="009999"/>
                </a:buClr>
                <a:defRPr/>
              </a:pPr>
              <a:endParaRPr lang="en-US" sz="3600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13" name="Rechteck 14">
              <a:extLst>
                <a:ext uri="{FF2B5EF4-FFF2-40B4-BE49-F238E27FC236}">
                  <a16:creationId xmlns:a16="http://schemas.microsoft.com/office/drawing/2014/main" id="{C5E373E0-6E8F-46BA-CD9A-1000F4BA656B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8699437" y="7351862"/>
              <a:ext cx="6032563" cy="16773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numCol="1" spcCol="53936" rtlCol="0" anchor="t">
              <a:spAutoFit/>
            </a:bodyPr>
            <a:lstStyle/>
            <a:p>
              <a:pPr algn="l" defTabSz="1828709" hangingPunct="1">
                <a:spcAft>
                  <a:spcPts val="600"/>
                </a:spcAft>
                <a:defRPr/>
              </a:pPr>
              <a:r>
                <a:rPr lang="en-US" b="1" kern="1200">
                  <a:solidFill>
                    <a:prstClr val="white">
                      <a:lumMod val="100000"/>
                    </a:prstClr>
                  </a:solidFill>
                  <a:latin typeface="Siemens Sans" pitchFamily="2" charset="0"/>
                  <a:sym typeface="+mn-lt"/>
                </a:rPr>
                <a:t>-2%</a:t>
              </a:r>
            </a:p>
            <a:p>
              <a:pPr algn="l" defTabSz="1828709" hangingPunct="1">
                <a:spcAft>
                  <a:spcPts val="600"/>
                </a:spcAft>
                <a:defRPr/>
              </a:pPr>
              <a:r>
                <a:rPr lang="en-US" sz="2800" kern="1200">
                  <a:solidFill>
                    <a:prstClr val="white"/>
                  </a:solidFill>
                  <a:latin typeface="Siemens Sans" pitchFamily="2" charset="0"/>
                  <a:ea typeface="ＭＳ Ｐゴシック"/>
                  <a:cs typeface="Siemens Sans"/>
                </a:rPr>
                <a:t>decrease of scope 3 upstream emissions compared to 2020 baseline</a:t>
              </a:r>
              <a:endParaRPr lang="en-US" sz="3198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4" name="Rechteck 14">
              <a:extLst>
                <a:ext uri="{FF2B5EF4-FFF2-40B4-BE49-F238E27FC236}">
                  <a16:creationId xmlns:a16="http://schemas.microsoft.com/office/drawing/2014/main" id="{30ED0A8F-F6F7-C701-73A1-27D0E5DB208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8707694" y="9848727"/>
              <a:ext cx="4751691" cy="2116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numCol="1" spcCol="53936" rtlCol="0" anchor="t">
              <a:noAutofit/>
            </a:bodyPr>
            <a:lstStyle/>
            <a:p>
              <a:pPr algn="l" defTabSz="1828709" hangingPunct="1">
                <a:spcAft>
                  <a:spcPts val="600"/>
                </a:spcAft>
                <a:defRPr/>
              </a:pPr>
              <a:r>
                <a:rPr lang="en-US" b="1" kern="1200">
                  <a:solidFill>
                    <a:prstClr val="white">
                      <a:lumMod val="100000"/>
                    </a:prstClr>
                  </a:solidFill>
                  <a:latin typeface="Siemens Sans" pitchFamily="2" charset="0"/>
                </a:rPr>
                <a:t>26%</a:t>
              </a:r>
            </a:p>
            <a:p>
              <a:pPr algn="l" defTabSz="1828709" hangingPunct="1">
                <a:spcAft>
                  <a:spcPts val="600"/>
                </a:spcAft>
                <a:defRPr/>
              </a:pPr>
              <a:r>
                <a:rPr lang="en-US" sz="2800" kern="1200">
                  <a:solidFill>
                    <a:prstClr val="white"/>
                  </a:solidFill>
                  <a:latin typeface="Siemens Sans" pitchFamily="2" charset="0"/>
                  <a:ea typeface="ＭＳ Ｐゴシック"/>
                  <a:cs typeface="Siemens Sans"/>
                </a:rPr>
                <a:t>increase in purchasing volume at the same time</a:t>
              </a:r>
              <a:endParaRPr lang="en-US" sz="3198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34" name="Titel 4">
              <a:extLst>
                <a:ext uri="{FF2B5EF4-FFF2-40B4-BE49-F238E27FC236}">
                  <a16:creationId xmlns:a16="http://schemas.microsoft.com/office/drawing/2014/main" id="{9A1FB5DC-CDE2-49A8-E913-67B5E4E9749D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 bwMode="black">
            <a:xfrm>
              <a:off x="8591440" y="2825816"/>
              <a:ext cx="7199531" cy="1151927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8000" b="1" kern="1200">
                  <a:gradFill>
                    <a:gsLst>
                      <a:gs pos="0">
                        <a:schemeClr val="accent2"/>
                      </a:gs>
                      <a:gs pos="100000">
                        <a:schemeClr val="accent3"/>
                      </a:gs>
                    </a:gsLst>
                    <a:lin ang="0" scaled="1"/>
                  </a:gra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999"/>
                </a:buClr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Siemens Sans" pitchFamily="2" charset="0"/>
                  <a:sym typeface="Helvetica Neue"/>
                </a:rPr>
                <a:t>Supplier engagement as </a:t>
              </a:r>
              <a:b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Siemens Sans" pitchFamily="2" charset="0"/>
                  <a:sym typeface="Helvetica Neue"/>
                </a:rPr>
              </a:b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Siemens Sans" pitchFamily="2" charset="0"/>
                  <a:sym typeface="Helvetica Neue"/>
                </a:rPr>
                <a:t>a key lever</a:t>
              </a:r>
              <a:endParaRPr kumimoji="0" lang="en-US" sz="3600" b="1" i="0" u="none" strike="noStrike" kern="1200" cap="none" spc="0" normalizeH="0" baseline="30000" noProof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Siemens Sans" pitchFamily="2" charset="0"/>
                <a:sym typeface="Helvetica Neue"/>
              </a:endParaRPr>
            </a:p>
          </p:txBody>
        </p:sp>
        <p:sp>
          <p:nvSpPr>
            <p:cNvPr id="50" name="Rechteck 14">
              <a:extLst>
                <a:ext uri="{FF2B5EF4-FFF2-40B4-BE49-F238E27FC236}">
                  <a16:creationId xmlns:a16="http://schemas.microsoft.com/office/drawing/2014/main" id="{185A6D1D-B2FE-CA17-5C47-A9A89F6866D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8652101" y="4183280"/>
              <a:ext cx="5236089" cy="2377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numCol="1" spcCol="53936" rtlCol="0" anchor="t">
              <a:spAutoFit/>
            </a:bodyPr>
            <a:lstStyle/>
            <a:p>
              <a:pPr marL="0" marR="0" lvl="0" indent="0" algn="l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100000"/>
                    </a:prstClr>
                  </a:solidFill>
                  <a:effectLst/>
                  <a:uLnTx/>
                  <a:uFillTx/>
                  <a:latin typeface="Siemens Sans" pitchFamily="2" charset="0"/>
                  <a:sym typeface="+mn-lt"/>
                </a:rPr>
                <a:t>Carbon Web Assessment</a:t>
              </a:r>
            </a:p>
            <a:p>
              <a:pPr marL="0" marR="0" lvl="0" indent="0" algn="l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emens Sans" pitchFamily="2" charset="0"/>
                  <a:ea typeface="ＭＳ Ｐゴシック"/>
                  <a:cs typeface="Arial"/>
                  <a:sym typeface="Helvetica Neue"/>
                </a:rPr>
                <a:t>Suppliers share data about their decarbonization efforts</a:t>
              </a: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" pitchFamily="2" charset="0"/>
                <a:sym typeface="Helvetica Neue"/>
              </a:endParaRPr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3A3A034C-9D86-F1D0-EBAB-D6B7EB1C89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16000" y="12151360"/>
            <a:ext cx="4206240" cy="606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200">
                <a:latin typeface="Siemens Sans" pitchFamily="2" charset="0"/>
              </a:rPr>
              <a:t>Note: All figures are approximate</a:t>
            </a:r>
          </a:p>
        </p:txBody>
      </p:sp>
    </p:spTree>
    <p:extLst>
      <p:ext uri="{BB962C8B-B14F-4D97-AF65-F5344CB8AC3E}">
        <p14:creationId xmlns:p14="http://schemas.microsoft.com/office/powerpoint/2010/main" val="384203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785771-129B-CA14-0F5B-D03260509CD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>
                <a:latin typeface="Siemens Sans" pitchFamily="2" charset="0"/>
              </a:rPr>
              <a:t>Clear expectations towards our supply chain partners</a:t>
            </a:r>
            <a:endParaRPr lang="de-DE">
              <a:latin typeface="Siemens Sans" pitchFamily="2" charset="0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2BA1717-7457-F819-76F8-3CFBD1FA030B}"/>
              </a:ext>
            </a:extLst>
          </p:cNvPr>
          <p:cNvGrpSpPr/>
          <p:nvPr/>
        </p:nvGrpSpPr>
        <p:grpSpPr>
          <a:xfrm>
            <a:off x="465289" y="2379649"/>
            <a:ext cx="9383329" cy="9765710"/>
            <a:chOff x="229605" y="1188512"/>
            <a:chExt cx="4694414" cy="4885716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E0A748D1-0D7C-3C5D-75C7-50CEE0B0CA6D}"/>
                </a:ext>
              </a:extLst>
            </p:cNvPr>
            <p:cNvSpPr txBox="1"/>
            <p:nvPr/>
          </p:nvSpPr>
          <p:spPr>
            <a:xfrm>
              <a:off x="356562" y="1188512"/>
              <a:ext cx="297532" cy="169055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defTabSz="1828709" hangingPunct="1"/>
              <a:r>
                <a:rPr lang="en-US" sz="2196" b="1" kern="1200">
                  <a:solidFill>
                    <a:srgbClr val="00FFB9"/>
                  </a:solidFill>
                  <a:latin typeface="Siemens Sans" pitchFamily="2" charset="0"/>
                </a:rPr>
                <a:t>high</a:t>
              </a: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26BC5AA-3406-9077-DE4F-302BC6A70FFA}"/>
                </a:ext>
              </a:extLst>
            </p:cNvPr>
            <p:cNvSpPr txBox="1"/>
            <p:nvPr/>
          </p:nvSpPr>
          <p:spPr>
            <a:xfrm rot="16200000">
              <a:off x="-197733" y="3475383"/>
              <a:ext cx="1070086" cy="215410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pPr defTabSz="1828709" hangingPunct="1">
                <a:defRPr/>
              </a:pPr>
              <a:r>
                <a:rPr lang="en-US" sz="2798" b="1" kern="1200">
                  <a:solidFill>
                    <a:prstClr val="white"/>
                  </a:solidFill>
                  <a:latin typeface="Siemens Sans" pitchFamily="2" charset="0"/>
                </a:rPr>
                <a:t>Performance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D57E473-F7BC-6AE4-44FF-02D8A9A2459B}"/>
                </a:ext>
              </a:extLst>
            </p:cNvPr>
            <p:cNvSpPr/>
            <p:nvPr/>
          </p:nvSpPr>
          <p:spPr>
            <a:xfrm>
              <a:off x="505326" y="1425663"/>
              <a:ext cx="4353762" cy="4353763"/>
            </a:xfrm>
            <a:prstGeom prst="rect">
              <a:avLst/>
            </a:prstGeom>
            <a:gradFill>
              <a:gsLst>
                <a:gs pos="0">
                  <a:srgbClr val="00FFB9"/>
                </a:gs>
                <a:gs pos="50000">
                  <a:schemeClr val="accent5">
                    <a:alpha val="2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0426" tIns="126952" rIns="190426" bIns="126952" rtlCol="0" anchor="t" anchorCtr="0"/>
            <a:lstStyle/>
            <a:p>
              <a:pPr algn="l" defTabSz="1828709" hangingPunct="1"/>
              <a:endParaRPr lang="en-US" sz="3596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7C9B7918-676F-5E9B-05DE-2AEA5A20A718}"/>
                </a:ext>
              </a:extLst>
            </p:cNvPr>
            <p:cNvCxnSpPr/>
            <p:nvPr/>
          </p:nvCxnSpPr>
          <p:spPr>
            <a:xfrm>
              <a:off x="505326" y="5779426"/>
              <a:ext cx="4353762" cy="0"/>
            </a:xfrm>
            <a:prstGeom prst="line">
              <a:avLst/>
            </a:prstGeom>
            <a:ln w="19615" cap="rnd">
              <a:gradFill>
                <a:gsLst>
                  <a:gs pos="0">
                    <a:schemeClr val="accent4"/>
                  </a:gs>
                  <a:gs pos="100000">
                    <a:srgbClr val="00FFB9"/>
                  </a:gs>
                </a:gsLst>
                <a:lin ang="0" scaled="0"/>
              </a:gradFill>
              <a:round/>
              <a:headEnd type="non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B65B1161-D9E6-3016-7BA7-E6CA8074C2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5326" y="1425663"/>
              <a:ext cx="0" cy="4353763"/>
            </a:xfrm>
            <a:prstGeom prst="line">
              <a:avLst/>
            </a:prstGeom>
            <a:ln w="19615" cap="rnd">
              <a:gradFill>
                <a:gsLst>
                  <a:gs pos="0">
                    <a:schemeClr val="accent4"/>
                  </a:gs>
                  <a:gs pos="100000">
                    <a:srgbClr val="00FFB9"/>
                  </a:gs>
                </a:gsLst>
                <a:lin ang="5400000" scaled="0"/>
              </a:gradFill>
              <a:round/>
              <a:headEnd type="non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D5558178-2463-AF15-6D3A-DC84C639219F}"/>
                </a:ext>
              </a:extLst>
            </p:cNvPr>
            <p:cNvSpPr txBox="1"/>
            <p:nvPr/>
          </p:nvSpPr>
          <p:spPr>
            <a:xfrm>
              <a:off x="4626487" y="5882024"/>
              <a:ext cx="297532" cy="169055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defTabSz="1828709" hangingPunct="1"/>
              <a:r>
                <a:rPr lang="en-US" sz="2196" b="1" kern="1200">
                  <a:solidFill>
                    <a:srgbClr val="00FFB9"/>
                  </a:solidFill>
                  <a:latin typeface="Siemens Sans" pitchFamily="2" charset="0"/>
                </a:rPr>
                <a:t>high</a:t>
              </a:r>
            </a:p>
          </p:txBody>
        </p:sp>
        <p:grpSp>
          <p:nvGrpSpPr>
            <p:cNvPr id="11" name="Gruppieren 14">
              <a:extLst>
                <a:ext uri="{FF2B5EF4-FFF2-40B4-BE49-F238E27FC236}">
                  <a16:creationId xmlns:a16="http://schemas.microsoft.com/office/drawing/2014/main" id="{564E91D1-89FB-F855-5C4F-3D72AB8A082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13712" y="1921559"/>
              <a:ext cx="633274" cy="633274"/>
              <a:chOff x="7138612" y="3000824"/>
              <a:chExt cx="432000" cy="432000"/>
            </a:xfrm>
          </p:grpSpPr>
          <p:sp>
            <p:nvSpPr>
              <p:cNvPr id="12" name="Core">
                <a:extLst>
                  <a:ext uri="{FF2B5EF4-FFF2-40B4-BE49-F238E27FC236}">
                    <a16:creationId xmlns:a16="http://schemas.microsoft.com/office/drawing/2014/main" id="{4BAD6C06-1408-1824-33A5-35025D852E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8612" y="3000824"/>
                <a:ext cx="432000" cy="432000"/>
              </a:xfrm>
              <a:prstGeom prst="ellipse">
                <a:avLst/>
              </a:prstGeom>
              <a:gradFill>
                <a:gsLst>
                  <a:gs pos="0">
                    <a:srgbClr val="00FFB9"/>
                  </a:gs>
                  <a:gs pos="100000">
                    <a:srgbClr val="00E6DC"/>
                  </a:gs>
                </a:gsLst>
                <a:lin ang="5400000" scaled="0"/>
              </a:gradFill>
              <a:ln>
                <a:noFill/>
              </a:ln>
              <a:effectLst>
                <a:glow rad="165100">
                  <a:srgbClr val="00FFB9">
                    <a:alpha val="40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0426" tIns="126952" rIns="190426" bIns="126952" rtlCol="0" anchor="t" anchorCtr="0"/>
              <a:lstStyle/>
              <a:p>
                <a:pPr algn="l" defTabSz="1828709" hangingPunct="1"/>
                <a:endParaRPr lang="en-US" sz="3596" kern="1200">
                  <a:solidFill>
                    <a:prstClr val="white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" name="Star">
                <a:extLst>
                  <a:ext uri="{FF2B5EF4-FFF2-40B4-BE49-F238E27FC236}">
                    <a16:creationId xmlns:a16="http://schemas.microsoft.com/office/drawing/2014/main" id="{9E460057-E9F2-482F-B072-D0CD430DD9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72181" y="3040300"/>
                <a:ext cx="364863" cy="326473"/>
              </a:xfrm>
              <a:prstGeom prst="star5">
                <a:avLst>
                  <a:gd name="adj" fmla="val 20336"/>
                  <a:gd name="hf" fmla="val 105146"/>
                  <a:gd name="vf" fmla="val 110557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0426" tIns="126952" rIns="190426" bIns="126952" rtlCol="0" anchor="t" anchorCtr="0"/>
              <a:lstStyle/>
              <a:p>
                <a:pPr algn="l" defTabSz="1828709" hangingPunct="1"/>
                <a:endParaRPr lang="en-US" sz="3596" kern="1200">
                  <a:solidFill>
                    <a:prstClr val="white"/>
                  </a:solidFill>
                  <a:latin typeface="Siemens Sans" pitchFamily="2" charset="0"/>
                </a:endParaRPr>
              </a:p>
            </p:txBody>
          </p:sp>
        </p:grpSp>
        <p:sp>
          <p:nvSpPr>
            <p:cNvPr id="14" name="Pfeil: nach rechts 13">
              <a:extLst>
                <a:ext uri="{FF2B5EF4-FFF2-40B4-BE49-F238E27FC236}">
                  <a16:creationId xmlns:a16="http://schemas.microsoft.com/office/drawing/2014/main" id="{7915B46D-F1AE-88EC-F0EF-6D3A5000A907}"/>
                </a:ext>
              </a:extLst>
            </p:cNvPr>
            <p:cNvSpPr/>
            <p:nvPr/>
          </p:nvSpPr>
          <p:spPr>
            <a:xfrm rot="18691848">
              <a:off x="564815" y="3320871"/>
              <a:ext cx="3309767" cy="1371695"/>
            </a:xfrm>
            <a:prstGeom prst="rightArrow">
              <a:avLst/>
            </a:prstGeom>
            <a:gradFill>
              <a:gsLst>
                <a:gs pos="100000">
                  <a:srgbClr val="00FFB9"/>
                </a:gs>
                <a:gs pos="0">
                  <a:schemeClr val="accent5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0426" tIns="126952" rIns="190426" bIns="126952" rtlCol="0" anchor="ctr" anchorCtr="0"/>
            <a:lstStyle/>
            <a:p>
              <a:pPr defTabSz="1828709" hangingPunct="1"/>
              <a:r>
                <a:rPr lang="en-US" sz="4798" b="1" i="1" kern="1200">
                  <a:solidFill>
                    <a:srgbClr val="00FFB9"/>
                  </a:solidFill>
                  <a:latin typeface="Siemens Sans" pitchFamily="2" charset="0"/>
                </a:rPr>
                <a:t>Sustainability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D1183715-DA8A-F2D4-70B8-0B490E4FFB13}"/>
                </a:ext>
              </a:extLst>
            </p:cNvPr>
            <p:cNvSpPr txBox="1"/>
            <p:nvPr/>
          </p:nvSpPr>
          <p:spPr>
            <a:xfrm>
              <a:off x="2000547" y="5858818"/>
              <a:ext cx="857499" cy="215410"/>
            </a:xfrm>
            <a:prstGeom prst="rect">
              <a:avLst/>
            </a:prstGeom>
            <a:noFill/>
          </p:spPr>
          <p:txBody>
            <a:bodyPr wrap="none" lIns="0" tIns="0" rIns="0" bIns="0" anchor="b">
              <a:spAutoFit/>
            </a:bodyPr>
            <a:lstStyle/>
            <a:p>
              <a:pPr defTabSz="1828709" hangingPunct="1">
                <a:defRPr/>
              </a:pPr>
              <a:r>
                <a:rPr lang="en-US" sz="2798" b="1" kern="1200">
                  <a:solidFill>
                    <a:prstClr val="white"/>
                  </a:solidFill>
                  <a:latin typeface="Siemens Sans" pitchFamily="2" charset="0"/>
                </a:rPr>
                <a:t>Assurance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0B10673-6A07-0599-CCFA-D85CCDB4A337}"/>
              </a:ext>
            </a:extLst>
          </p:cNvPr>
          <p:cNvGrpSpPr/>
          <p:nvPr/>
        </p:nvGrpSpPr>
        <p:grpSpPr>
          <a:xfrm>
            <a:off x="10649858" y="7276856"/>
            <a:ext cx="11298758" cy="4856722"/>
            <a:chOff x="5324873" y="3638550"/>
            <a:chExt cx="5652690" cy="2429784"/>
          </a:xfrm>
        </p:grpSpPr>
        <p:sp>
          <p:nvSpPr>
            <p:cNvPr id="20" name="Dreieck 42">
              <a:extLst>
                <a:ext uri="{FF2B5EF4-FFF2-40B4-BE49-F238E27FC236}">
                  <a16:creationId xmlns:a16="http://schemas.microsoft.com/office/drawing/2014/main" id="{A05696C9-632B-6F51-EA15-61EF03104822}"/>
                </a:ext>
              </a:extLst>
            </p:cNvPr>
            <p:cNvSpPr/>
            <p:nvPr/>
          </p:nvSpPr>
          <p:spPr>
            <a:xfrm rot="10800000">
              <a:off x="7833998" y="4199521"/>
              <a:ext cx="618704" cy="322372"/>
            </a:xfrm>
            <a:prstGeom prst="triangle">
              <a:avLst/>
            </a:prstGeom>
            <a:solidFill>
              <a:srgbClr val="333353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762" tIns="143843" rIns="215762" bIns="143843" rtlCol="0" anchor="ctr" anchorCtr="0"/>
            <a:lstStyle/>
            <a:p>
              <a:pPr algn="l" defTabSz="1828709" hangingPunct="1"/>
              <a:endParaRPr lang="de-DE" sz="3596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18" name="Inhaltsplatzhalter 2">
              <a:extLst>
                <a:ext uri="{FF2B5EF4-FFF2-40B4-BE49-F238E27FC236}">
                  <a16:creationId xmlns:a16="http://schemas.microsoft.com/office/drawing/2014/main" id="{54BFF5F1-A306-1071-6E52-1BB741D6CFE8}"/>
                </a:ext>
              </a:extLst>
            </p:cNvPr>
            <p:cNvSpPr txBox="1">
              <a:spLocks/>
            </p:cNvSpPr>
            <p:nvPr/>
          </p:nvSpPr>
          <p:spPr>
            <a:xfrm>
              <a:off x="5324873" y="4519126"/>
              <a:ext cx="5652690" cy="1549208"/>
            </a:xfrm>
            <a:prstGeom prst="rect">
              <a:avLst/>
            </a:prstGeom>
            <a:noFill/>
          </p:spPr>
          <p:txBody>
            <a:bodyPr vert="horz" wrap="none" lIns="143917" tIns="215874" rIns="0" bIns="215762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33107" lvl="1" indent="-361752" defTabSz="1828709">
                <a:spcAft>
                  <a:spcPts val="600"/>
                </a:spcAft>
                <a:buClr>
                  <a:srgbClr val="00D7A0"/>
                </a:buClr>
              </a:pPr>
              <a: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  <a:t>Strengthen our </a:t>
              </a: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Sustainability transformation </a:t>
              </a:r>
            </a:p>
            <a:p>
              <a:pPr marL="533107" lvl="1" indent="-361752" defTabSz="1828709">
                <a:spcAft>
                  <a:spcPts val="600"/>
                </a:spcAft>
                <a:buClr>
                  <a:srgbClr val="00D7A0"/>
                </a:buClr>
              </a:pPr>
              <a: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  <a:t>Actively drive </a:t>
              </a: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CO</a:t>
              </a:r>
              <a:r>
                <a:rPr lang="en-US" sz="3198" b="1" spc="-140" baseline="-25000">
                  <a:solidFill>
                    <a:prstClr val="white"/>
                  </a:solidFill>
                  <a:latin typeface="Siemens Sans" pitchFamily="2" charset="0"/>
                </a:rPr>
                <a:t>2</a:t>
              </a: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 reduction </a:t>
              </a:r>
              <a: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  <a:t>along the </a:t>
              </a: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net-zero pathway</a:t>
              </a:r>
            </a:p>
            <a:p>
              <a:pPr marL="533107" lvl="1" indent="-361752" defTabSz="1828709">
                <a:spcAft>
                  <a:spcPts val="600"/>
                </a:spcAft>
                <a:buClr>
                  <a:srgbClr val="00D7A0"/>
                </a:buClr>
              </a:pPr>
              <a: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  <a:t>Join our </a:t>
              </a: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Carbon Web Assessment </a:t>
              </a:r>
              <a: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  <a:t>and </a:t>
              </a: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involve your suppliers</a:t>
              </a:r>
            </a:p>
            <a:p>
              <a:pPr marL="533107" lvl="1" indent="-361752" defTabSz="1828709">
                <a:spcAft>
                  <a:spcPts val="600"/>
                </a:spcAft>
                <a:buClr>
                  <a:srgbClr val="00D7A0"/>
                </a:buClr>
              </a:pPr>
              <a: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  <a:t>Utilize</a:t>
              </a: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 resource reduction levers </a:t>
              </a:r>
              <a: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  <a:t>and get prepared for the </a:t>
              </a:r>
              <a:br>
                <a:rPr lang="en-US" sz="3198" spc="-140">
                  <a:solidFill>
                    <a:prstClr val="white"/>
                  </a:solidFill>
                  <a:latin typeface="Siemens Sans" pitchFamily="2" charset="0"/>
                </a:rPr>
              </a:b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Green Digital Twin</a:t>
              </a:r>
            </a:p>
          </p:txBody>
        </p:sp>
        <p:sp>
          <p:nvSpPr>
            <p:cNvPr id="22" name="Inhaltsplatzhalter 2">
              <a:extLst>
                <a:ext uri="{FF2B5EF4-FFF2-40B4-BE49-F238E27FC236}">
                  <a16:creationId xmlns:a16="http://schemas.microsoft.com/office/drawing/2014/main" id="{C807BFEF-5C15-33D5-A38F-4D90EAC46810}"/>
                </a:ext>
              </a:extLst>
            </p:cNvPr>
            <p:cNvSpPr txBox="1">
              <a:spLocks/>
            </p:cNvSpPr>
            <p:nvPr/>
          </p:nvSpPr>
          <p:spPr>
            <a:xfrm>
              <a:off x="5324873" y="3638550"/>
              <a:ext cx="5636954" cy="655524"/>
            </a:xfrm>
            <a:prstGeom prst="rect">
              <a:avLst/>
            </a:prstGeom>
            <a:solidFill>
              <a:srgbClr val="333353"/>
            </a:solidFill>
          </p:spPr>
          <p:txBody>
            <a:bodyPr vert="horz" lIns="215762" tIns="215762" rIns="215762" bIns="215762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828709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sz="3198" b="1">
                  <a:gradFill>
                    <a:gsLst>
                      <a:gs pos="100000">
                        <a:srgbClr val="00E6DC"/>
                      </a:gs>
                      <a:gs pos="0">
                        <a:srgbClr val="00FFB9"/>
                      </a:gs>
                    </a:gsLst>
                    <a:lin ang="0" scaled="0"/>
                  </a:gradFill>
                  <a:latin typeface="Siemens Sans" pitchFamily="2" charset="0"/>
                </a:rPr>
                <a:t>Drive sustainability </a:t>
              </a:r>
              <a:r>
                <a:rPr lang="en-US" sz="3198" b="1">
                  <a:solidFill>
                    <a:prstClr val="white"/>
                  </a:solidFill>
                  <a:latin typeface="Siemens Sans" pitchFamily="2" charset="0"/>
                </a:rPr>
                <a:t>performance</a:t>
              </a:r>
              <a:r>
                <a:rPr lang="en-US" sz="3198" b="1">
                  <a:gradFill>
                    <a:gsLst>
                      <a:gs pos="100000">
                        <a:srgbClr val="00E6DC"/>
                      </a:gs>
                      <a:gs pos="0">
                        <a:srgbClr val="00FFB9"/>
                      </a:gs>
                    </a:gsLst>
                    <a:lin ang="0" scaled="0"/>
                  </a:gradFill>
                  <a:latin typeface="Siemens Sans" pitchFamily="2" charset="0"/>
                </a:rPr>
                <a:t> with </a:t>
              </a:r>
              <a:br>
                <a:rPr lang="en-US" sz="3198" b="1">
                  <a:gradFill>
                    <a:gsLst>
                      <a:gs pos="100000">
                        <a:srgbClr val="00E6DC"/>
                      </a:gs>
                      <a:gs pos="0">
                        <a:srgbClr val="00FFB9"/>
                      </a:gs>
                    </a:gsLst>
                    <a:lin ang="0" scaled="0"/>
                  </a:gradFill>
                  <a:latin typeface="Siemens Sans" pitchFamily="2" charset="0"/>
                </a:rPr>
              </a:br>
              <a:r>
                <a:rPr lang="en-US" sz="3198" b="1">
                  <a:gradFill>
                    <a:gsLst>
                      <a:gs pos="100000">
                        <a:srgbClr val="00E6DC"/>
                      </a:gs>
                      <a:gs pos="0">
                        <a:srgbClr val="00FFB9"/>
                      </a:gs>
                    </a:gsLst>
                    <a:lin ang="0" scaled="0"/>
                  </a:gradFill>
                  <a:latin typeface="Siemens Sans" pitchFamily="2" charset="0"/>
                </a:rPr>
                <a:t>highest ambitions</a:t>
              </a: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278211A3-F13F-EAA0-09DB-EE7BBAA72F46}"/>
                </a:ext>
              </a:extLst>
            </p:cNvPr>
            <p:cNvSpPr/>
            <p:nvPr/>
          </p:nvSpPr>
          <p:spPr>
            <a:xfrm>
              <a:off x="10414779" y="3782258"/>
              <a:ext cx="462771" cy="391249"/>
            </a:xfrm>
            <a:custGeom>
              <a:avLst/>
              <a:gdLst>
                <a:gd name="connsiteX0" fmla="*/ 292417 w 2322005"/>
                <a:gd name="connsiteY0" fmla="*/ 1403984 h 1835944"/>
                <a:gd name="connsiteX1" fmla="*/ 391476 w 2322005"/>
                <a:gd name="connsiteY1" fmla="*/ 1426177 h 1835944"/>
                <a:gd name="connsiteX2" fmla="*/ 367950 w 2322005"/>
                <a:gd name="connsiteY2" fmla="*/ 1479613 h 1835944"/>
                <a:gd name="connsiteX3" fmla="*/ 296417 w 2322005"/>
                <a:gd name="connsiteY3" fmla="*/ 1459229 h 1835944"/>
                <a:gd name="connsiteX4" fmla="*/ 210025 w 2322005"/>
                <a:gd name="connsiteY4" fmla="*/ 1565528 h 1835944"/>
                <a:gd name="connsiteX5" fmla="*/ 262505 w 2322005"/>
                <a:gd name="connsiteY5" fmla="*/ 1665505 h 1835944"/>
                <a:gd name="connsiteX6" fmla="*/ 300472 w 2322005"/>
                <a:gd name="connsiteY6" fmla="*/ 1672772 h 1835944"/>
                <a:gd name="connsiteX7" fmla="*/ 300418 w 2322005"/>
                <a:gd name="connsiteY7" fmla="*/ 1672780 h 1835944"/>
                <a:gd name="connsiteX8" fmla="*/ 300513 w 2322005"/>
                <a:gd name="connsiteY8" fmla="*/ 1672780 h 1835944"/>
                <a:gd name="connsiteX9" fmla="*/ 300472 w 2322005"/>
                <a:gd name="connsiteY9" fmla="*/ 1672772 h 1835944"/>
                <a:gd name="connsiteX10" fmla="*/ 335899 w 2322005"/>
                <a:gd name="connsiteY10" fmla="*/ 1667565 h 1835944"/>
                <a:gd name="connsiteX11" fmla="*/ 375094 w 2322005"/>
                <a:gd name="connsiteY11" fmla="*/ 1648777 h 1835944"/>
                <a:gd name="connsiteX12" fmla="*/ 395477 w 2322005"/>
                <a:gd name="connsiteY12" fmla="*/ 1704879 h 1835944"/>
                <a:gd name="connsiteX13" fmla="*/ 295941 w 2322005"/>
                <a:gd name="connsiteY13" fmla="*/ 1727929 h 1835944"/>
                <a:gd name="connsiteX14" fmla="*/ 178307 w 2322005"/>
                <a:gd name="connsiteY14" fmla="*/ 1686305 h 1835944"/>
                <a:gd name="connsiteX15" fmla="*/ 137159 w 2322005"/>
                <a:gd name="connsiteY15" fmla="*/ 1568671 h 1835944"/>
                <a:gd name="connsiteX16" fmla="*/ 292417 w 2322005"/>
                <a:gd name="connsiteY16" fmla="*/ 1403984 h 1835944"/>
                <a:gd name="connsiteX17" fmla="*/ 38100 w 2322005"/>
                <a:gd name="connsiteY17" fmla="*/ 1334071 h 1835944"/>
                <a:gd name="connsiteX18" fmla="*/ 38100 w 2322005"/>
                <a:gd name="connsiteY18" fmla="*/ 1797843 h 1835944"/>
                <a:gd name="connsiteX19" fmla="*/ 1984153 w 2322005"/>
                <a:gd name="connsiteY19" fmla="*/ 1797843 h 1835944"/>
                <a:gd name="connsiteX20" fmla="*/ 1984248 w 2322005"/>
                <a:gd name="connsiteY20" fmla="*/ 1797939 h 1835944"/>
                <a:gd name="connsiteX21" fmla="*/ 2262569 w 2322005"/>
                <a:gd name="connsiteY21" fmla="*/ 1566005 h 1835944"/>
                <a:gd name="connsiteX22" fmla="*/ 1984248 w 2322005"/>
                <a:gd name="connsiteY22" fmla="*/ 1334071 h 1835944"/>
                <a:gd name="connsiteX23" fmla="*/ 1997964 w 2322005"/>
                <a:gd name="connsiteY23" fmla="*/ 1295876 h 1835944"/>
                <a:gd name="connsiteX24" fmla="*/ 2322005 w 2322005"/>
                <a:gd name="connsiteY24" fmla="*/ 1565910 h 1835944"/>
                <a:gd name="connsiteX25" fmla="*/ 1997964 w 2322005"/>
                <a:gd name="connsiteY25" fmla="*/ 1835944 h 1835944"/>
                <a:gd name="connsiteX26" fmla="*/ 0 w 2322005"/>
                <a:gd name="connsiteY26" fmla="*/ 1835944 h 1835944"/>
                <a:gd name="connsiteX27" fmla="*/ 0 w 2322005"/>
                <a:gd name="connsiteY27" fmla="*/ 1295971 h 1835944"/>
                <a:gd name="connsiteX28" fmla="*/ 1997964 w 2322005"/>
                <a:gd name="connsiteY28" fmla="*/ 1295971 h 1835944"/>
                <a:gd name="connsiteX29" fmla="*/ 220885 w 2322005"/>
                <a:gd name="connsiteY29" fmla="*/ 939355 h 1835944"/>
                <a:gd name="connsiteX30" fmla="*/ 220885 w 2322005"/>
                <a:gd name="connsiteY30" fmla="*/ 1023937 h 1835944"/>
                <a:gd name="connsiteX31" fmla="*/ 254412 w 2322005"/>
                <a:gd name="connsiteY31" fmla="*/ 1023937 h 1835944"/>
                <a:gd name="connsiteX32" fmla="*/ 277749 w 2322005"/>
                <a:gd name="connsiteY32" fmla="*/ 1022663 h 1835944"/>
                <a:gd name="connsiteX33" fmla="*/ 291929 w 2322005"/>
                <a:gd name="connsiteY33" fmla="*/ 1018035 h 1835944"/>
                <a:gd name="connsiteX34" fmla="*/ 291846 w 2322005"/>
                <a:gd name="connsiteY34" fmla="*/ 1018127 h 1835944"/>
                <a:gd name="connsiteX35" fmla="*/ 291941 w 2322005"/>
                <a:gd name="connsiteY35" fmla="*/ 1018031 h 1835944"/>
                <a:gd name="connsiteX36" fmla="*/ 291929 w 2322005"/>
                <a:gd name="connsiteY36" fmla="*/ 1018035 h 1835944"/>
                <a:gd name="connsiteX37" fmla="*/ 304395 w 2322005"/>
                <a:gd name="connsiteY37" fmla="*/ 1004172 h 1835944"/>
                <a:gd name="connsiteX38" fmla="*/ 309086 w 2322005"/>
                <a:gd name="connsiteY38" fmla="*/ 982789 h 1835944"/>
                <a:gd name="connsiteX39" fmla="*/ 291465 w 2322005"/>
                <a:gd name="connsiteY39" fmla="*/ 947070 h 1835944"/>
                <a:gd name="connsiteX40" fmla="*/ 255270 w 2322005"/>
                <a:gd name="connsiteY40" fmla="*/ 939355 h 1835944"/>
                <a:gd name="connsiteX41" fmla="*/ 1998059 w 2322005"/>
                <a:gd name="connsiteY41" fmla="*/ 917924 h 1835944"/>
                <a:gd name="connsiteX42" fmla="*/ 1997964 w 2322005"/>
                <a:gd name="connsiteY42" fmla="*/ 918019 h 1835944"/>
                <a:gd name="connsiteX43" fmla="*/ 1997955 w 2322005"/>
                <a:gd name="connsiteY43" fmla="*/ 918011 h 1835944"/>
                <a:gd name="connsiteX44" fmla="*/ 220885 w 2322005"/>
                <a:gd name="connsiteY44" fmla="*/ 812101 h 1835944"/>
                <a:gd name="connsiteX45" fmla="*/ 220885 w 2322005"/>
                <a:gd name="connsiteY45" fmla="*/ 892682 h 1835944"/>
                <a:gd name="connsiteX46" fmla="*/ 253460 w 2322005"/>
                <a:gd name="connsiteY46" fmla="*/ 892682 h 1835944"/>
                <a:gd name="connsiteX47" fmla="*/ 293751 w 2322005"/>
                <a:gd name="connsiteY47" fmla="*/ 884491 h 1835944"/>
                <a:gd name="connsiteX48" fmla="*/ 305943 w 2322005"/>
                <a:gd name="connsiteY48" fmla="*/ 853725 h 1835944"/>
                <a:gd name="connsiteX49" fmla="*/ 292417 w 2322005"/>
                <a:gd name="connsiteY49" fmla="*/ 821150 h 1835944"/>
                <a:gd name="connsiteX50" fmla="*/ 249840 w 2322005"/>
                <a:gd name="connsiteY50" fmla="*/ 812101 h 1835944"/>
                <a:gd name="connsiteX51" fmla="*/ 152114 w 2322005"/>
                <a:gd name="connsiteY51" fmla="*/ 761428 h 1835944"/>
                <a:gd name="connsiteX52" fmla="*/ 264795 w 2322005"/>
                <a:gd name="connsiteY52" fmla="*/ 761428 h 1835944"/>
                <a:gd name="connsiteX53" fmla="*/ 345757 w 2322005"/>
                <a:gd name="connsiteY53" fmla="*/ 779049 h 1835944"/>
                <a:gd name="connsiteX54" fmla="*/ 375666 w 2322005"/>
                <a:gd name="connsiteY54" fmla="*/ 845153 h 1835944"/>
                <a:gd name="connsiteX55" fmla="*/ 328612 w 2322005"/>
                <a:gd name="connsiteY55" fmla="*/ 914399 h 1835944"/>
                <a:gd name="connsiteX56" fmla="*/ 380619 w 2322005"/>
                <a:gd name="connsiteY56" fmla="*/ 985932 h 1835944"/>
                <a:gd name="connsiteX57" fmla="*/ 348520 w 2322005"/>
                <a:gd name="connsiteY57" fmla="*/ 1056036 h 1835944"/>
                <a:gd name="connsiteX58" fmla="*/ 272510 w 2322005"/>
                <a:gd name="connsiteY58" fmla="*/ 1074610 h 1835944"/>
                <a:gd name="connsiteX59" fmla="*/ 152114 w 2322005"/>
                <a:gd name="connsiteY59" fmla="*/ 1074610 h 1835944"/>
                <a:gd name="connsiteX60" fmla="*/ 38100 w 2322005"/>
                <a:gd name="connsiteY60" fmla="*/ 686085 h 1835944"/>
                <a:gd name="connsiteX61" fmla="*/ 38100 w 2322005"/>
                <a:gd name="connsiteY61" fmla="*/ 1149857 h 1835944"/>
                <a:gd name="connsiteX62" fmla="*/ 38100 w 2322005"/>
                <a:gd name="connsiteY62" fmla="*/ 1149953 h 1835944"/>
                <a:gd name="connsiteX63" fmla="*/ 1660208 w 2322005"/>
                <a:gd name="connsiteY63" fmla="*/ 1149953 h 1835944"/>
                <a:gd name="connsiteX64" fmla="*/ 1938528 w 2322005"/>
                <a:gd name="connsiteY64" fmla="*/ 918019 h 1835944"/>
                <a:gd name="connsiteX65" fmla="*/ 1660208 w 2322005"/>
                <a:gd name="connsiteY65" fmla="*/ 686085 h 1835944"/>
                <a:gd name="connsiteX66" fmla="*/ 0 w 2322005"/>
                <a:gd name="connsiteY66" fmla="*/ 647985 h 1835944"/>
                <a:gd name="connsiteX67" fmla="*/ 1673924 w 2322005"/>
                <a:gd name="connsiteY67" fmla="*/ 647985 h 1835944"/>
                <a:gd name="connsiteX68" fmla="*/ 1997955 w 2322005"/>
                <a:gd name="connsiteY68" fmla="*/ 918011 h 1835944"/>
                <a:gd name="connsiteX69" fmla="*/ 1674019 w 2322005"/>
                <a:gd name="connsiteY69" fmla="*/ 1187957 h 1835944"/>
                <a:gd name="connsiteX70" fmla="*/ 0 w 2322005"/>
                <a:gd name="connsiteY70" fmla="*/ 1187957 h 1835944"/>
                <a:gd name="connsiteX71" fmla="*/ 1674019 w 2322005"/>
                <a:gd name="connsiteY71" fmla="*/ 269939 h 1835944"/>
                <a:gd name="connsiteX72" fmla="*/ 1674019 w 2322005"/>
                <a:gd name="connsiteY72" fmla="*/ 270034 h 1835944"/>
                <a:gd name="connsiteX73" fmla="*/ 1673962 w 2322005"/>
                <a:gd name="connsiteY73" fmla="*/ 269986 h 1835944"/>
                <a:gd name="connsiteX74" fmla="*/ 263652 w 2322005"/>
                <a:gd name="connsiteY74" fmla="*/ 182213 h 1835944"/>
                <a:gd name="connsiteX75" fmla="*/ 279939 w 2322005"/>
                <a:gd name="connsiteY75" fmla="*/ 231076 h 1835944"/>
                <a:gd name="connsiteX76" fmla="*/ 304324 w 2322005"/>
                <a:gd name="connsiteY76" fmla="*/ 298990 h 1835944"/>
                <a:gd name="connsiteX77" fmla="*/ 223361 w 2322005"/>
                <a:gd name="connsiteY77" fmla="*/ 298990 h 1835944"/>
                <a:gd name="connsiteX78" fmla="*/ 247840 w 2322005"/>
                <a:gd name="connsiteY78" fmla="*/ 231076 h 1835944"/>
                <a:gd name="connsiteX79" fmla="*/ 263652 w 2322005"/>
                <a:gd name="connsiteY79" fmla="*/ 182213 h 1835944"/>
                <a:gd name="connsiteX80" fmla="*/ 227457 w 2322005"/>
                <a:gd name="connsiteY80" fmla="*/ 113443 h 1835944"/>
                <a:gd name="connsiteX81" fmla="*/ 108109 w 2322005"/>
                <a:gd name="connsiteY81" fmla="*/ 426530 h 1835944"/>
                <a:gd name="connsiteX82" fmla="*/ 178213 w 2322005"/>
                <a:gd name="connsiteY82" fmla="*/ 426530 h 1835944"/>
                <a:gd name="connsiteX83" fmla="*/ 204883 w 2322005"/>
                <a:gd name="connsiteY83" fmla="*/ 351854 h 1835944"/>
                <a:gd name="connsiteX84" fmla="*/ 322993 w 2322005"/>
                <a:gd name="connsiteY84" fmla="*/ 351854 h 1835944"/>
                <a:gd name="connsiteX85" fmla="*/ 350139 w 2322005"/>
                <a:gd name="connsiteY85" fmla="*/ 426530 h 1835944"/>
                <a:gd name="connsiteX86" fmla="*/ 350044 w 2322005"/>
                <a:gd name="connsiteY86" fmla="*/ 426625 h 1835944"/>
                <a:gd name="connsiteX87" fmla="*/ 424720 w 2322005"/>
                <a:gd name="connsiteY87" fmla="*/ 426625 h 1835944"/>
                <a:gd name="connsiteX88" fmla="*/ 301181 w 2322005"/>
                <a:gd name="connsiteY88" fmla="*/ 113443 h 1835944"/>
                <a:gd name="connsiteX89" fmla="*/ 0 w 2322005"/>
                <a:gd name="connsiteY89" fmla="*/ 0 h 1835944"/>
                <a:gd name="connsiteX90" fmla="*/ 1349978 w 2322005"/>
                <a:gd name="connsiteY90" fmla="*/ 0 h 1835944"/>
                <a:gd name="connsiteX91" fmla="*/ 1673962 w 2322005"/>
                <a:gd name="connsiteY91" fmla="*/ 269986 h 1835944"/>
                <a:gd name="connsiteX92" fmla="*/ 1349978 w 2322005"/>
                <a:gd name="connsiteY92" fmla="*/ 539972 h 1835944"/>
                <a:gd name="connsiteX93" fmla="*/ 0 w 2322005"/>
                <a:gd name="connsiteY93" fmla="*/ 539972 h 18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2322005" h="1835944">
                  <a:moveTo>
                    <a:pt x="292417" y="1403984"/>
                  </a:moveTo>
                  <a:cubicBezTo>
                    <a:pt x="328135" y="1403984"/>
                    <a:pt x="354329" y="1409890"/>
                    <a:pt x="391476" y="1426177"/>
                  </a:cubicBezTo>
                  <a:lnTo>
                    <a:pt x="367950" y="1479613"/>
                  </a:lnTo>
                  <a:cubicBezTo>
                    <a:pt x="342613" y="1465611"/>
                    <a:pt x="319944" y="1459229"/>
                    <a:pt x="296417" y="1459229"/>
                  </a:cubicBezTo>
                  <a:cubicBezTo>
                    <a:pt x="242125" y="1459229"/>
                    <a:pt x="210025" y="1498091"/>
                    <a:pt x="210025" y="1565528"/>
                  </a:cubicBezTo>
                  <a:cubicBezTo>
                    <a:pt x="210025" y="1616106"/>
                    <a:pt x="229099" y="1651146"/>
                    <a:pt x="262505" y="1665505"/>
                  </a:cubicBezTo>
                  <a:lnTo>
                    <a:pt x="300472" y="1672772"/>
                  </a:lnTo>
                  <a:lnTo>
                    <a:pt x="300418" y="1672780"/>
                  </a:lnTo>
                  <a:lnTo>
                    <a:pt x="300513" y="1672780"/>
                  </a:lnTo>
                  <a:lnTo>
                    <a:pt x="300472" y="1672772"/>
                  </a:lnTo>
                  <a:lnTo>
                    <a:pt x="335899" y="1667565"/>
                  </a:lnTo>
                  <a:cubicBezTo>
                    <a:pt x="347495" y="1663826"/>
                    <a:pt x="359711" y="1657826"/>
                    <a:pt x="375094" y="1648777"/>
                  </a:cubicBezTo>
                  <a:lnTo>
                    <a:pt x="395477" y="1704879"/>
                  </a:lnTo>
                  <a:cubicBezTo>
                    <a:pt x="358425" y="1722976"/>
                    <a:pt x="336232" y="1727929"/>
                    <a:pt x="295941" y="1727929"/>
                  </a:cubicBezTo>
                  <a:cubicBezTo>
                    <a:pt x="242982" y="1727929"/>
                    <a:pt x="206406" y="1714785"/>
                    <a:pt x="178307" y="1686305"/>
                  </a:cubicBezTo>
                  <a:cubicBezTo>
                    <a:pt x="151161" y="1658302"/>
                    <a:pt x="137159" y="1618392"/>
                    <a:pt x="137159" y="1568671"/>
                  </a:cubicBezTo>
                  <a:cubicBezTo>
                    <a:pt x="137159" y="1465992"/>
                    <a:pt x="195547" y="1403984"/>
                    <a:pt x="292417" y="1403984"/>
                  </a:cubicBezTo>
                  <a:close/>
                  <a:moveTo>
                    <a:pt x="38100" y="1334071"/>
                  </a:moveTo>
                  <a:lnTo>
                    <a:pt x="38100" y="1797843"/>
                  </a:lnTo>
                  <a:lnTo>
                    <a:pt x="1984153" y="1797843"/>
                  </a:lnTo>
                  <a:lnTo>
                    <a:pt x="1984248" y="1797939"/>
                  </a:lnTo>
                  <a:lnTo>
                    <a:pt x="2262569" y="1566005"/>
                  </a:lnTo>
                  <a:lnTo>
                    <a:pt x="1984248" y="1334071"/>
                  </a:lnTo>
                  <a:close/>
                  <a:moveTo>
                    <a:pt x="1997964" y="1295876"/>
                  </a:moveTo>
                  <a:lnTo>
                    <a:pt x="2322005" y="1565910"/>
                  </a:lnTo>
                  <a:lnTo>
                    <a:pt x="1997964" y="1835944"/>
                  </a:lnTo>
                  <a:lnTo>
                    <a:pt x="0" y="1835944"/>
                  </a:lnTo>
                  <a:lnTo>
                    <a:pt x="0" y="1295971"/>
                  </a:lnTo>
                  <a:lnTo>
                    <a:pt x="1997964" y="1295971"/>
                  </a:lnTo>
                  <a:close/>
                  <a:moveTo>
                    <a:pt x="220885" y="939355"/>
                  </a:moveTo>
                  <a:lnTo>
                    <a:pt x="220885" y="1023937"/>
                  </a:lnTo>
                  <a:lnTo>
                    <a:pt x="254412" y="1023937"/>
                  </a:lnTo>
                  <a:cubicBezTo>
                    <a:pt x="264795" y="1023937"/>
                    <a:pt x="272034" y="1023580"/>
                    <a:pt x="277749" y="1022663"/>
                  </a:cubicBezTo>
                  <a:lnTo>
                    <a:pt x="291929" y="1018035"/>
                  </a:lnTo>
                  <a:lnTo>
                    <a:pt x="291846" y="1018127"/>
                  </a:lnTo>
                  <a:lnTo>
                    <a:pt x="291941" y="1018031"/>
                  </a:lnTo>
                  <a:lnTo>
                    <a:pt x="291929" y="1018035"/>
                  </a:lnTo>
                  <a:lnTo>
                    <a:pt x="304395" y="1004172"/>
                  </a:lnTo>
                  <a:cubicBezTo>
                    <a:pt x="307396" y="998052"/>
                    <a:pt x="309086" y="990694"/>
                    <a:pt x="309086" y="982789"/>
                  </a:cubicBezTo>
                  <a:cubicBezTo>
                    <a:pt x="309086" y="967930"/>
                    <a:pt x="302323" y="954309"/>
                    <a:pt x="291465" y="947070"/>
                  </a:cubicBezTo>
                  <a:cubicBezTo>
                    <a:pt x="282892" y="941641"/>
                    <a:pt x="272891" y="939355"/>
                    <a:pt x="255270" y="939355"/>
                  </a:cubicBezTo>
                  <a:close/>
                  <a:moveTo>
                    <a:pt x="1998059" y="917924"/>
                  </a:moveTo>
                  <a:lnTo>
                    <a:pt x="1997964" y="918019"/>
                  </a:lnTo>
                  <a:lnTo>
                    <a:pt x="1997955" y="918011"/>
                  </a:lnTo>
                  <a:close/>
                  <a:moveTo>
                    <a:pt x="220885" y="812101"/>
                  </a:moveTo>
                  <a:lnTo>
                    <a:pt x="220885" y="892682"/>
                  </a:lnTo>
                  <a:lnTo>
                    <a:pt x="253460" y="892682"/>
                  </a:lnTo>
                  <a:cubicBezTo>
                    <a:pt x="275177" y="892682"/>
                    <a:pt x="285655" y="890397"/>
                    <a:pt x="293751" y="884491"/>
                  </a:cubicBezTo>
                  <a:cubicBezTo>
                    <a:pt x="301371" y="878204"/>
                    <a:pt x="305943" y="866393"/>
                    <a:pt x="305943" y="853725"/>
                  </a:cubicBezTo>
                  <a:cubicBezTo>
                    <a:pt x="305943" y="840200"/>
                    <a:pt x="300990" y="828389"/>
                    <a:pt x="292417" y="821150"/>
                  </a:cubicBezTo>
                  <a:cubicBezTo>
                    <a:pt x="283369" y="814387"/>
                    <a:pt x="273367" y="812101"/>
                    <a:pt x="249840" y="812101"/>
                  </a:cubicBezTo>
                  <a:close/>
                  <a:moveTo>
                    <a:pt x="152114" y="761428"/>
                  </a:moveTo>
                  <a:lnTo>
                    <a:pt x="264795" y="761428"/>
                  </a:lnTo>
                  <a:cubicBezTo>
                    <a:pt x="309086" y="761428"/>
                    <a:pt x="328136" y="765428"/>
                    <a:pt x="345757" y="779049"/>
                  </a:cubicBezTo>
                  <a:cubicBezTo>
                    <a:pt x="364331" y="793146"/>
                    <a:pt x="375666" y="818483"/>
                    <a:pt x="375666" y="845153"/>
                  </a:cubicBezTo>
                  <a:cubicBezTo>
                    <a:pt x="375666" y="880014"/>
                    <a:pt x="359854" y="903541"/>
                    <a:pt x="328612" y="914399"/>
                  </a:cubicBezTo>
                  <a:cubicBezTo>
                    <a:pt x="362998" y="925258"/>
                    <a:pt x="380619" y="949261"/>
                    <a:pt x="380619" y="985932"/>
                  </a:cubicBezTo>
                  <a:cubicBezTo>
                    <a:pt x="380619" y="1014888"/>
                    <a:pt x="368903" y="1041082"/>
                    <a:pt x="348520" y="1056036"/>
                  </a:cubicBezTo>
                  <a:cubicBezTo>
                    <a:pt x="330898" y="1069181"/>
                    <a:pt x="308229" y="1074610"/>
                    <a:pt x="272510" y="1074610"/>
                  </a:cubicBezTo>
                  <a:lnTo>
                    <a:pt x="152114" y="1074610"/>
                  </a:lnTo>
                  <a:close/>
                  <a:moveTo>
                    <a:pt x="38100" y="686085"/>
                  </a:moveTo>
                  <a:lnTo>
                    <a:pt x="38100" y="1149857"/>
                  </a:lnTo>
                  <a:lnTo>
                    <a:pt x="38100" y="1149953"/>
                  </a:lnTo>
                  <a:lnTo>
                    <a:pt x="1660208" y="1149953"/>
                  </a:lnTo>
                  <a:lnTo>
                    <a:pt x="1938528" y="918019"/>
                  </a:lnTo>
                  <a:lnTo>
                    <a:pt x="1660208" y="686085"/>
                  </a:lnTo>
                  <a:close/>
                  <a:moveTo>
                    <a:pt x="0" y="647985"/>
                  </a:moveTo>
                  <a:lnTo>
                    <a:pt x="1673924" y="647985"/>
                  </a:lnTo>
                  <a:lnTo>
                    <a:pt x="1997955" y="918011"/>
                  </a:lnTo>
                  <a:lnTo>
                    <a:pt x="1674019" y="1187957"/>
                  </a:lnTo>
                  <a:lnTo>
                    <a:pt x="0" y="1187957"/>
                  </a:lnTo>
                  <a:close/>
                  <a:moveTo>
                    <a:pt x="1674019" y="269939"/>
                  </a:moveTo>
                  <a:lnTo>
                    <a:pt x="1674019" y="270034"/>
                  </a:lnTo>
                  <a:lnTo>
                    <a:pt x="1673962" y="269986"/>
                  </a:lnTo>
                  <a:close/>
                  <a:moveTo>
                    <a:pt x="263652" y="182213"/>
                  </a:moveTo>
                  <a:cubicBezTo>
                    <a:pt x="271367" y="207073"/>
                    <a:pt x="273177" y="212122"/>
                    <a:pt x="279939" y="231076"/>
                  </a:cubicBezTo>
                  <a:lnTo>
                    <a:pt x="304324" y="298990"/>
                  </a:lnTo>
                  <a:lnTo>
                    <a:pt x="223361" y="298990"/>
                  </a:lnTo>
                  <a:lnTo>
                    <a:pt x="247840" y="231076"/>
                  </a:lnTo>
                  <a:cubicBezTo>
                    <a:pt x="257270" y="204883"/>
                    <a:pt x="258699" y="201168"/>
                    <a:pt x="263652" y="182213"/>
                  </a:cubicBezTo>
                  <a:close/>
                  <a:moveTo>
                    <a:pt x="227457" y="113443"/>
                  </a:moveTo>
                  <a:lnTo>
                    <a:pt x="108109" y="426530"/>
                  </a:lnTo>
                  <a:lnTo>
                    <a:pt x="178213" y="426530"/>
                  </a:lnTo>
                  <a:lnTo>
                    <a:pt x="204883" y="351854"/>
                  </a:lnTo>
                  <a:lnTo>
                    <a:pt x="322993" y="351854"/>
                  </a:lnTo>
                  <a:lnTo>
                    <a:pt x="350139" y="426530"/>
                  </a:lnTo>
                  <a:lnTo>
                    <a:pt x="350044" y="426625"/>
                  </a:lnTo>
                  <a:lnTo>
                    <a:pt x="424720" y="426625"/>
                  </a:lnTo>
                  <a:lnTo>
                    <a:pt x="301181" y="113443"/>
                  </a:lnTo>
                  <a:close/>
                  <a:moveTo>
                    <a:pt x="0" y="0"/>
                  </a:moveTo>
                  <a:lnTo>
                    <a:pt x="1349978" y="0"/>
                  </a:lnTo>
                  <a:lnTo>
                    <a:pt x="1673962" y="269986"/>
                  </a:lnTo>
                  <a:lnTo>
                    <a:pt x="1349978" y="539972"/>
                  </a:lnTo>
                  <a:lnTo>
                    <a:pt x="0" y="539972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 defTabSz="1828709" hangingPunct="1"/>
              <a:endParaRPr lang="de-DE" sz="3598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D3DA890-829F-4C7D-49C5-6AD4C44D2C78}"/>
              </a:ext>
            </a:extLst>
          </p:cNvPr>
          <p:cNvGrpSpPr/>
          <p:nvPr/>
        </p:nvGrpSpPr>
        <p:grpSpPr>
          <a:xfrm>
            <a:off x="10649855" y="2851605"/>
            <a:ext cx="11277048" cy="3407078"/>
            <a:chOff x="5324873" y="1424627"/>
            <a:chExt cx="5641828" cy="1704537"/>
          </a:xfrm>
        </p:grpSpPr>
        <p:sp>
          <p:nvSpPr>
            <p:cNvPr id="17" name="Inhaltsplatzhalter 2">
              <a:extLst>
                <a:ext uri="{FF2B5EF4-FFF2-40B4-BE49-F238E27FC236}">
                  <a16:creationId xmlns:a16="http://schemas.microsoft.com/office/drawing/2014/main" id="{7636877C-4108-5187-30B9-7F4E69A2AE92}"/>
                </a:ext>
              </a:extLst>
            </p:cNvPr>
            <p:cNvSpPr txBox="1">
              <a:spLocks/>
            </p:cNvSpPr>
            <p:nvPr/>
          </p:nvSpPr>
          <p:spPr>
            <a:xfrm>
              <a:off x="5329747" y="2243786"/>
              <a:ext cx="5636954" cy="885378"/>
            </a:xfrm>
            <a:prstGeom prst="rect">
              <a:avLst/>
            </a:prstGeom>
            <a:noFill/>
          </p:spPr>
          <p:txBody>
            <a:bodyPr vert="horz" wrap="none" lIns="143917" tIns="215762" rIns="215762" bIns="215762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45627" lvl="1" indent="-571185" defTabSz="1828709">
                <a:spcAft>
                  <a:spcPts val="600"/>
                </a:spcAft>
                <a:buClr>
                  <a:srgbClr val="00D7A0"/>
                </a:buClr>
                <a:buFont typeface="Wingdings" panose="05000000000000000000" pitchFamily="2" charset="2"/>
                <a:buChar char="ü"/>
              </a:pP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Code of Conduct</a:t>
              </a:r>
            </a:p>
            <a:p>
              <a:pPr marL="745627" lvl="1" indent="-571185" defTabSz="1828709">
                <a:spcAft>
                  <a:spcPts val="600"/>
                </a:spcAft>
                <a:buClr>
                  <a:srgbClr val="00D7A0"/>
                </a:buClr>
                <a:buFont typeface="Wingdings" panose="05000000000000000000" pitchFamily="2" charset="2"/>
                <a:buChar char="ü"/>
              </a:pP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Self-Assessment (CRSA)</a:t>
              </a:r>
            </a:p>
            <a:p>
              <a:pPr marL="745627" lvl="1" indent="-571185" defTabSz="1828709">
                <a:spcAft>
                  <a:spcPts val="600"/>
                </a:spcAft>
                <a:buClr>
                  <a:srgbClr val="00D7A0"/>
                </a:buClr>
                <a:buFont typeface="Wingdings" panose="05000000000000000000" pitchFamily="2" charset="2"/>
                <a:buChar char="ü"/>
              </a:pPr>
              <a:r>
                <a:rPr lang="en-US" sz="3198" b="1" spc="-140">
                  <a:solidFill>
                    <a:prstClr val="white"/>
                  </a:solidFill>
                  <a:latin typeface="Siemens Sans" pitchFamily="2" charset="0"/>
                </a:rPr>
                <a:t>External Sustainability Audits</a:t>
              </a:r>
            </a:p>
          </p:txBody>
        </p:sp>
        <p:sp>
          <p:nvSpPr>
            <p:cNvPr id="19" name="Dreieck 42">
              <a:extLst>
                <a:ext uri="{FF2B5EF4-FFF2-40B4-BE49-F238E27FC236}">
                  <a16:creationId xmlns:a16="http://schemas.microsoft.com/office/drawing/2014/main" id="{29BA9092-7FC3-11F0-F7A1-8FCFE4F63D10}"/>
                </a:ext>
              </a:extLst>
            </p:cNvPr>
            <p:cNvSpPr/>
            <p:nvPr/>
          </p:nvSpPr>
          <p:spPr>
            <a:xfrm rot="10800000">
              <a:off x="7833828" y="1979801"/>
              <a:ext cx="619047" cy="322372"/>
            </a:xfrm>
            <a:prstGeom prst="triangle">
              <a:avLst/>
            </a:prstGeom>
            <a:solidFill>
              <a:srgbClr val="333353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762" tIns="143843" rIns="215762" bIns="143843" rtlCol="0" anchor="ctr" anchorCtr="0"/>
            <a:lstStyle/>
            <a:p>
              <a:pPr algn="l" defTabSz="1828709" hangingPunct="1"/>
              <a:endParaRPr lang="de-DE" sz="3596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  <p:sp>
          <p:nvSpPr>
            <p:cNvPr id="21" name="Inhaltsplatzhalter 2">
              <a:extLst>
                <a:ext uri="{FF2B5EF4-FFF2-40B4-BE49-F238E27FC236}">
                  <a16:creationId xmlns:a16="http://schemas.microsoft.com/office/drawing/2014/main" id="{2B909F55-596D-69CB-FD9B-D6BBFF0727A4}"/>
                </a:ext>
              </a:extLst>
            </p:cNvPr>
            <p:cNvSpPr txBox="1">
              <a:spLocks/>
            </p:cNvSpPr>
            <p:nvPr/>
          </p:nvSpPr>
          <p:spPr>
            <a:xfrm>
              <a:off x="5324873" y="1424627"/>
              <a:ext cx="5636954" cy="655524"/>
            </a:xfrm>
            <a:prstGeom prst="rect">
              <a:avLst/>
            </a:prstGeom>
            <a:solidFill>
              <a:srgbClr val="333353"/>
            </a:solidFill>
          </p:spPr>
          <p:txBody>
            <a:bodyPr vert="horz" lIns="215762" tIns="215762" rIns="215762" bIns="215762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828709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sz="3198" b="1">
                  <a:gradFill>
                    <a:gsLst>
                      <a:gs pos="100000">
                        <a:srgbClr val="00E6DC"/>
                      </a:gs>
                      <a:gs pos="0">
                        <a:srgbClr val="00FFB9"/>
                      </a:gs>
                    </a:gsLst>
                    <a:lin ang="0" scaled="0"/>
                  </a:gradFill>
                  <a:latin typeface="Siemens Sans" pitchFamily="2" charset="0"/>
                </a:rPr>
                <a:t>Commit to our </a:t>
              </a:r>
              <a:r>
                <a:rPr lang="en-US" sz="3198" b="1">
                  <a:solidFill>
                    <a:prstClr val="white"/>
                  </a:solidFill>
                  <a:latin typeface="Siemens Sans" pitchFamily="2" charset="0"/>
                </a:rPr>
                <a:t>assurance</a:t>
              </a:r>
              <a:r>
                <a:rPr lang="en-US" sz="3198" b="1">
                  <a:gradFill>
                    <a:gsLst>
                      <a:gs pos="100000">
                        <a:srgbClr val="00E6DC"/>
                      </a:gs>
                      <a:gs pos="0">
                        <a:srgbClr val="00FFB9"/>
                      </a:gs>
                    </a:gsLst>
                    <a:lin ang="0" scaled="0"/>
                  </a:gradFill>
                  <a:latin typeface="Siemens Sans" pitchFamily="2" charset="0"/>
                </a:rPr>
                <a:t> fundamentals</a:t>
              </a:r>
            </a:p>
          </p:txBody>
        </p:sp>
        <p:sp>
          <p:nvSpPr>
            <p:cNvPr id="25" name="Grafik 43">
              <a:extLst>
                <a:ext uri="{FF2B5EF4-FFF2-40B4-BE49-F238E27FC236}">
                  <a16:creationId xmlns:a16="http://schemas.microsoft.com/office/drawing/2014/main" id="{5A77B69B-A907-132F-E3A4-B590F141C806}"/>
                </a:ext>
              </a:extLst>
            </p:cNvPr>
            <p:cNvSpPr/>
            <p:nvPr/>
          </p:nvSpPr>
          <p:spPr>
            <a:xfrm>
              <a:off x="10478360" y="1545050"/>
              <a:ext cx="303939" cy="413372"/>
            </a:xfrm>
            <a:custGeom>
              <a:avLst/>
              <a:gdLst>
                <a:gd name="connsiteX0" fmla="*/ 1081373 w 1349978"/>
                <a:gd name="connsiteY0" fmla="*/ 0 h 1836038"/>
                <a:gd name="connsiteX1" fmla="*/ 1081373 w 1349978"/>
                <a:gd name="connsiteY1" fmla="*/ 271367 h 1836038"/>
                <a:gd name="connsiteX2" fmla="*/ 268700 w 1349978"/>
                <a:gd name="connsiteY2" fmla="*/ 271367 h 1836038"/>
                <a:gd name="connsiteX3" fmla="*/ 268700 w 1349978"/>
                <a:gd name="connsiteY3" fmla="*/ 0 h 1836038"/>
                <a:gd name="connsiteX4" fmla="*/ 0 w 1349978"/>
                <a:gd name="connsiteY4" fmla="*/ 0 h 1836038"/>
                <a:gd name="connsiteX5" fmla="*/ 0 w 1349978"/>
                <a:gd name="connsiteY5" fmla="*/ 1836039 h 1836038"/>
                <a:gd name="connsiteX6" fmla="*/ 1349978 w 1349978"/>
                <a:gd name="connsiteY6" fmla="*/ 1836039 h 1836038"/>
                <a:gd name="connsiteX7" fmla="*/ 1349978 w 1349978"/>
                <a:gd name="connsiteY7" fmla="*/ 0 h 1836038"/>
                <a:gd name="connsiteX8" fmla="*/ 1081373 w 1349978"/>
                <a:gd name="connsiteY8" fmla="*/ 0 h 1836038"/>
                <a:gd name="connsiteX9" fmla="*/ 432054 w 1349978"/>
                <a:gd name="connsiteY9" fmla="*/ 1511999 h 1836038"/>
                <a:gd name="connsiteX10" fmla="*/ 216027 w 1349978"/>
                <a:gd name="connsiteY10" fmla="*/ 1511999 h 1836038"/>
                <a:gd name="connsiteX11" fmla="*/ 216027 w 1349978"/>
                <a:gd name="connsiteY11" fmla="*/ 1295972 h 1836038"/>
                <a:gd name="connsiteX12" fmla="*/ 432054 w 1349978"/>
                <a:gd name="connsiteY12" fmla="*/ 1295972 h 1836038"/>
                <a:gd name="connsiteX13" fmla="*/ 432054 w 1349978"/>
                <a:gd name="connsiteY13" fmla="*/ 1511999 h 1836038"/>
                <a:gd name="connsiteX14" fmla="*/ 432054 w 1349978"/>
                <a:gd name="connsiteY14" fmla="*/ 918020 h 1836038"/>
                <a:gd name="connsiteX15" fmla="*/ 216027 w 1349978"/>
                <a:gd name="connsiteY15" fmla="*/ 918020 h 1836038"/>
                <a:gd name="connsiteX16" fmla="*/ 216027 w 1349978"/>
                <a:gd name="connsiteY16" fmla="*/ 701993 h 1836038"/>
                <a:gd name="connsiteX17" fmla="*/ 432054 w 1349978"/>
                <a:gd name="connsiteY17" fmla="*/ 701993 h 1836038"/>
                <a:gd name="connsiteX18" fmla="*/ 432054 w 1349978"/>
                <a:gd name="connsiteY18" fmla="*/ 918020 h 1836038"/>
                <a:gd name="connsiteX19" fmla="*/ 813626 w 1349978"/>
                <a:gd name="connsiteY19" fmla="*/ 1592009 h 1836038"/>
                <a:gd name="connsiteX20" fmla="*/ 609886 w 1349978"/>
                <a:gd name="connsiteY20" fmla="*/ 1388269 h 1836038"/>
                <a:gd name="connsiteX21" fmla="*/ 670179 w 1349978"/>
                <a:gd name="connsiteY21" fmla="*/ 1328071 h 1836038"/>
                <a:gd name="connsiteX22" fmla="*/ 800481 w 1349978"/>
                <a:gd name="connsiteY22" fmla="*/ 1441323 h 1836038"/>
                <a:gd name="connsiteX23" fmla="*/ 1131665 w 1349978"/>
                <a:gd name="connsiteY23" fmla="*/ 1153382 h 1836038"/>
                <a:gd name="connsiteX24" fmla="*/ 1191959 w 1349978"/>
                <a:gd name="connsiteY24" fmla="*/ 1213580 h 1836038"/>
                <a:gd name="connsiteX25" fmla="*/ 813626 w 1349978"/>
                <a:gd name="connsiteY25" fmla="*/ 1591913 h 1836038"/>
                <a:gd name="connsiteX26" fmla="*/ 813626 w 1349978"/>
                <a:gd name="connsiteY26" fmla="*/ 998030 h 1836038"/>
                <a:gd name="connsiteX27" fmla="*/ 609886 w 1349978"/>
                <a:gd name="connsiteY27" fmla="*/ 794290 h 1836038"/>
                <a:gd name="connsiteX28" fmla="*/ 670179 w 1349978"/>
                <a:gd name="connsiteY28" fmla="*/ 734092 h 1836038"/>
                <a:gd name="connsiteX29" fmla="*/ 800481 w 1349978"/>
                <a:gd name="connsiteY29" fmla="*/ 847439 h 1836038"/>
                <a:gd name="connsiteX30" fmla="*/ 1131665 w 1349978"/>
                <a:gd name="connsiteY30" fmla="*/ 559499 h 1836038"/>
                <a:gd name="connsiteX31" fmla="*/ 1191959 w 1349978"/>
                <a:gd name="connsiteY31" fmla="*/ 619697 h 1836038"/>
                <a:gd name="connsiteX32" fmla="*/ 813626 w 1349978"/>
                <a:gd name="connsiteY32" fmla="*/ 998030 h 1836038"/>
                <a:gd name="connsiteX33" fmla="*/ 970693 w 1349978"/>
                <a:gd name="connsiteY33" fmla="*/ 160687 h 1836038"/>
                <a:gd name="connsiteX34" fmla="*/ 379381 w 1349978"/>
                <a:gd name="connsiteY34" fmla="*/ 160687 h 1836038"/>
                <a:gd name="connsiteX35" fmla="*/ 379381 w 1349978"/>
                <a:gd name="connsiteY35" fmla="*/ 0 h 1836038"/>
                <a:gd name="connsiteX36" fmla="*/ 970693 w 1349978"/>
                <a:gd name="connsiteY36" fmla="*/ 0 h 1836038"/>
                <a:gd name="connsiteX37" fmla="*/ 970693 w 1349978"/>
                <a:gd name="connsiteY37" fmla="*/ 160687 h 183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349978" h="1836038">
                  <a:moveTo>
                    <a:pt x="1081373" y="0"/>
                  </a:moveTo>
                  <a:lnTo>
                    <a:pt x="1081373" y="271367"/>
                  </a:lnTo>
                  <a:lnTo>
                    <a:pt x="268700" y="271367"/>
                  </a:lnTo>
                  <a:lnTo>
                    <a:pt x="268700" y="0"/>
                  </a:lnTo>
                  <a:lnTo>
                    <a:pt x="0" y="0"/>
                  </a:lnTo>
                  <a:lnTo>
                    <a:pt x="0" y="1836039"/>
                  </a:lnTo>
                  <a:lnTo>
                    <a:pt x="1349978" y="1836039"/>
                  </a:lnTo>
                  <a:lnTo>
                    <a:pt x="1349978" y="0"/>
                  </a:lnTo>
                  <a:lnTo>
                    <a:pt x="1081373" y="0"/>
                  </a:lnTo>
                  <a:close/>
                  <a:moveTo>
                    <a:pt x="432054" y="1511999"/>
                  </a:moveTo>
                  <a:lnTo>
                    <a:pt x="216027" y="1511999"/>
                  </a:lnTo>
                  <a:lnTo>
                    <a:pt x="216027" y="1295972"/>
                  </a:lnTo>
                  <a:lnTo>
                    <a:pt x="432054" y="1295972"/>
                  </a:lnTo>
                  <a:lnTo>
                    <a:pt x="432054" y="1511999"/>
                  </a:lnTo>
                  <a:close/>
                  <a:moveTo>
                    <a:pt x="432054" y="918020"/>
                  </a:moveTo>
                  <a:lnTo>
                    <a:pt x="216027" y="918020"/>
                  </a:lnTo>
                  <a:lnTo>
                    <a:pt x="216027" y="701993"/>
                  </a:lnTo>
                  <a:lnTo>
                    <a:pt x="432054" y="701993"/>
                  </a:lnTo>
                  <a:lnTo>
                    <a:pt x="432054" y="918020"/>
                  </a:lnTo>
                  <a:close/>
                  <a:moveTo>
                    <a:pt x="813626" y="1592009"/>
                  </a:moveTo>
                  <a:lnTo>
                    <a:pt x="609886" y="1388269"/>
                  </a:lnTo>
                  <a:lnTo>
                    <a:pt x="670179" y="1328071"/>
                  </a:lnTo>
                  <a:lnTo>
                    <a:pt x="800481" y="1441323"/>
                  </a:lnTo>
                  <a:lnTo>
                    <a:pt x="1131665" y="1153382"/>
                  </a:lnTo>
                  <a:lnTo>
                    <a:pt x="1191959" y="1213580"/>
                  </a:lnTo>
                  <a:lnTo>
                    <a:pt x="813626" y="1591913"/>
                  </a:lnTo>
                  <a:close/>
                  <a:moveTo>
                    <a:pt x="813626" y="998030"/>
                  </a:moveTo>
                  <a:lnTo>
                    <a:pt x="609886" y="794290"/>
                  </a:lnTo>
                  <a:lnTo>
                    <a:pt x="670179" y="734092"/>
                  </a:lnTo>
                  <a:lnTo>
                    <a:pt x="800481" y="847439"/>
                  </a:lnTo>
                  <a:lnTo>
                    <a:pt x="1131665" y="559499"/>
                  </a:lnTo>
                  <a:lnTo>
                    <a:pt x="1191959" y="619697"/>
                  </a:lnTo>
                  <a:lnTo>
                    <a:pt x="813626" y="998030"/>
                  </a:lnTo>
                  <a:close/>
                  <a:moveTo>
                    <a:pt x="970693" y="160687"/>
                  </a:moveTo>
                  <a:lnTo>
                    <a:pt x="379381" y="160687"/>
                  </a:lnTo>
                  <a:lnTo>
                    <a:pt x="379381" y="0"/>
                  </a:lnTo>
                  <a:lnTo>
                    <a:pt x="970693" y="0"/>
                  </a:lnTo>
                  <a:lnTo>
                    <a:pt x="970693" y="160687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 defTabSz="1828709" hangingPunct="1"/>
              <a:endParaRPr lang="de-DE" sz="3598" kern="1200">
                <a:solidFill>
                  <a:prstClr val="white"/>
                </a:solidFill>
                <a:latin typeface="Siemens Sans" pitchFamily="2" charset="0"/>
              </a:endParaRPr>
            </a:p>
          </p:txBody>
        </p:sp>
      </p:grp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5C2C5620-520C-308B-3DB8-9521DB5632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D8037E1-5C77-283A-9C51-DE0EBEC3A6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Page </a:t>
            </a:r>
            <a:fld id="{15EBE321-CBB1-4E91-BD14-37C8D44326FB}" type="slidenum">
              <a:rPr lang="en-US" kern="1200">
                <a:solidFill>
                  <a:prstClr val="white"/>
                </a:solidFill>
                <a:latin typeface="Siemens Sans"/>
              </a:rPr>
              <a:pPr defTabSz="1828709" hangingPunct="1"/>
              <a:t>7</a:t>
            </a:fld>
            <a:endParaRPr lang="en-US" kern="1200">
              <a:solidFill>
                <a:prstClr val="white"/>
              </a:solidFill>
              <a:latin typeface="Siemens Sans"/>
            </a:endParaRPr>
          </a:p>
        </p:txBody>
      </p:sp>
    </p:spTree>
    <p:extLst>
      <p:ext uri="{BB962C8B-B14F-4D97-AF65-F5344CB8AC3E}">
        <p14:creationId xmlns:p14="http://schemas.microsoft.com/office/powerpoint/2010/main" val="267411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B1B83B75-42BE-4485-A5B3-3DD3D3503B6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493804"/>
            <a:ext cx="16062650" cy="10209515"/>
          </a:xfrm>
          <a:prstGeom prst="homePlate">
            <a:avLst>
              <a:gd name="adj" fmla="val 23820"/>
            </a:avLst>
          </a:prstGeom>
          <a:gradFill>
            <a:gsLst>
              <a:gs pos="0">
                <a:schemeClr val="accent5">
                  <a:alpha val="0"/>
                </a:schemeClr>
              </a:gs>
              <a:gs pos="100000">
                <a:schemeClr val="accent5">
                  <a:alpha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5762" tIns="143843" rIns="215762" bIns="143843" rtlCol="0" anchor="t" anchorCtr="0"/>
          <a:lstStyle/>
          <a:p>
            <a:pPr algn="l" defTabSz="1827795" hangingPunct="1"/>
            <a:endParaRPr lang="en-US" sz="3596" kern="1200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B518F7-AA45-4078-852B-FAC22A61F53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0747" y="957600"/>
            <a:ext cx="22490063" cy="1152000"/>
          </a:xfrm>
        </p:spPr>
        <p:txBody>
          <a:bodyPr/>
          <a:lstStyle/>
          <a:p>
            <a:r>
              <a:rPr lang="en-US">
                <a:latin typeface="Siemens Sans" pitchFamily="2" charset="0"/>
                <a:cs typeface="Arial" panose="020B0604020202020204" pitchFamily="34" charset="0"/>
              </a:rPr>
              <a:t>Carbon Web Assessment (CWA) </a:t>
            </a:r>
            <a:r>
              <a:rPr lang="en-US">
                <a:latin typeface="Siemens Sans" pitchFamily="2" charset="0"/>
              </a:rPr>
              <a:t>designed to support our suppliers with their CO</a:t>
            </a:r>
            <a:r>
              <a:rPr lang="en-US" baseline="-25000">
                <a:latin typeface="Siemens Sans" pitchFamily="2" charset="0"/>
              </a:rPr>
              <a:t>2</a:t>
            </a:r>
            <a:r>
              <a:rPr lang="en-US">
                <a:latin typeface="Siemens Sans" pitchFamily="2" charset="0"/>
              </a:rPr>
              <a:t> reduction efforts and to enable our 4.000+ procurement reducing their supplier’s footprint</a:t>
            </a:r>
          </a:p>
        </p:txBody>
      </p:sp>
      <p:sp>
        <p:nvSpPr>
          <p:cNvPr id="9" name="Textfeld 10">
            <a:extLst>
              <a:ext uri="{FF2B5EF4-FFF2-40B4-BE49-F238E27FC236}">
                <a16:creationId xmlns:a16="http://schemas.microsoft.com/office/drawing/2014/main" id="{8066270A-725A-4F8E-B336-7E9932A2423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3486" y="3494922"/>
            <a:ext cx="13847554" cy="11129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 defTabSz="1827795" hangingPunct="1">
              <a:lnSpc>
                <a:spcPct val="110000"/>
              </a:lnSpc>
              <a:spcAft>
                <a:spcPts val="3596"/>
              </a:spcAft>
              <a:buClr>
                <a:srgbClr val="00D7A0"/>
              </a:buClr>
              <a:buSzPct val="100000"/>
              <a:defRPr/>
            </a:pPr>
            <a:r>
              <a:rPr lang="en-US" sz="3596" b="1" kern="120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" pitchFamily="2" charset="0"/>
                <a:ea typeface="ＭＳ Ｐゴシック" charset="-128"/>
                <a:cs typeface="Arial" panose="020B0604020202020204" pitchFamily="34" charset="0"/>
              </a:rPr>
              <a:t>Gaining transparency was the first step</a:t>
            </a:r>
            <a:br>
              <a:rPr lang="en-US" sz="35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</a:br>
            <a:r>
              <a:rPr lang="en-US" sz="31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Economic model to calculate CO</a:t>
            </a:r>
            <a:r>
              <a:rPr lang="en-US" sz="3196" kern="1200" baseline="-250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2</a:t>
            </a:r>
            <a:r>
              <a:rPr lang="en-US" sz="31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 footprint of all purchased goods &amp; service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42DF8AA-71EE-433D-8430-50DA89232D4D}"/>
              </a:ext>
            </a:extLst>
          </p:cNvPr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6493" y="2376314"/>
            <a:ext cx="5854319" cy="3128536"/>
          </a:xfrm>
          <a:prstGeom prst="rect">
            <a:avLst/>
          </a:prstGeom>
          <a:ln>
            <a:solidFill>
              <a:schemeClr val="tx1">
                <a:lumMod val="75000"/>
              </a:schemeClr>
            </a:solidFill>
          </a:ln>
        </p:spPr>
      </p:pic>
      <p:sp>
        <p:nvSpPr>
          <p:cNvPr id="18" name="Textfeld 10">
            <a:extLst>
              <a:ext uri="{FF2B5EF4-FFF2-40B4-BE49-F238E27FC236}">
                <a16:creationId xmlns:a16="http://schemas.microsoft.com/office/drawing/2014/main" id="{EC2E9400-672A-463D-B850-64A539AD63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3481" y="5930643"/>
            <a:ext cx="14433935" cy="110773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 defTabSz="1827795" hangingPunct="1">
              <a:lnSpc>
                <a:spcPct val="110000"/>
              </a:lnSpc>
              <a:spcAft>
                <a:spcPts val="3596"/>
              </a:spcAft>
              <a:buClr>
                <a:srgbClr val="00D7A0"/>
              </a:buClr>
              <a:buSzPct val="100000"/>
              <a:defRPr/>
            </a:pPr>
            <a:r>
              <a:rPr lang="en-US" sz="3596" b="1" kern="120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" pitchFamily="2" charset="0"/>
                <a:ea typeface="ＭＳ Ｐゴシック" charset="-128"/>
                <a:cs typeface="Arial" panose="020B0604020202020204" pitchFamily="34" charset="0"/>
              </a:rPr>
              <a:t>From calculated transparency to primary data</a:t>
            </a:r>
            <a:br>
              <a:rPr lang="en-US" sz="35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</a:br>
            <a:r>
              <a:rPr lang="en-US" sz="31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CWA designed to replace data in our model with primary data from our suppliers</a:t>
            </a:r>
            <a:endParaRPr lang="en-US" sz="3596" kern="1200">
              <a:solidFill>
                <a:prstClr val="white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19" name="Textfeld 10">
            <a:extLst>
              <a:ext uri="{FF2B5EF4-FFF2-40B4-BE49-F238E27FC236}">
                <a16:creationId xmlns:a16="http://schemas.microsoft.com/office/drawing/2014/main" id="{184EC431-FC89-4BDD-82D9-E4E711AA44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3486" y="10830381"/>
            <a:ext cx="13381717" cy="117602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 defTabSz="1827795" hangingPunct="1">
              <a:lnSpc>
                <a:spcPct val="110000"/>
              </a:lnSpc>
              <a:spcAft>
                <a:spcPts val="3596"/>
              </a:spcAft>
              <a:buClr>
                <a:srgbClr val="00D7A0"/>
              </a:buClr>
              <a:buSzPct val="100000"/>
              <a:defRPr/>
            </a:pPr>
            <a:r>
              <a:rPr lang="en-US" sz="3596" b="1" kern="120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" pitchFamily="2" charset="0"/>
                <a:ea typeface="ＭＳ Ｐゴシック" charset="-128"/>
                <a:cs typeface="Arial" panose="020B0604020202020204" pitchFamily="34" charset="0"/>
              </a:rPr>
              <a:t>Continuous improvement</a:t>
            </a:r>
            <a:br>
              <a:rPr lang="en-US" sz="35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</a:br>
            <a:r>
              <a:rPr lang="en-US" sz="35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E</a:t>
            </a:r>
            <a:r>
              <a:rPr lang="en-US" sz="3200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nhanced capabilities for active reduction managemen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56A77F8-0090-4840-B6AB-B24CC62576B8}"/>
              </a:ext>
            </a:extLst>
          </p:cNvPr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6493" y="5794443"/>
            <a:ext cx="5854319" cy="3128536"/>
          </a:xfrm>
          <a:prstGeom prst="rect">
            <a:avLst/>
          </a:prstGeom>
          <a:ln>
            <a:solidFill>
              <a:schemeClr val="tx1">
                <a:lumMod val="75000"/>
              </a:schemeClr>
            </a:solidFill>
          </a:ln>
        </p:spPr>
      </p:pic>
      <p:sp>
        <p:nvSpPr>
          <p:cNvPr id="4" name="Textfeld 10">
            <a:extLst>
              <a:ext uri="{FF2B5EF4-FFF2-40B4-BE49-F238E27FC236}">
                <a16:creationId xmlns:a16="http://schemas.microsoft.com/office/drawing/2014/main" id="{92929B29-4AD5-4921-72DE-2EB64711C46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3486" y="8366359"/>
            <a:ext cx="14603748" cy="11701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l" defTabSz="1827795" hangingPunct="1">
              <a:lnSpc>
                <a:spcPct val="110000"/>
              </a:lnSpc>
              <a:spcAft>
                <a:spcPts val="3596"/>
              </a:spcAft>
              <a:buClr>
                <a:srgbClr val="00D7A0"/>
              </a:buClr>
              <a:buSzPct val="100000"/>
              <a:defRPr/>
            </a:pPr>
            <a:r>
              <a:rPr lang="en-US" sz="3596" b="1" kern="1200">
                <a:gradFill>
                  <a:gsLst>
                    <a:gs pos="0">
                      <a:srgbClr val="00FFB9"/>
                    </a:gs>
                    <a:gs pos="100000">
                      <a:srgbClr val="00E6DC"/>
                    </a:gs>
                  </a:gsLst>
                  <a:lin ang="0" scaled="0"/>
                </a:gradFill>
                <a:latin typeface="Siemens Sans" pitchFamily="2" charset="0"/>
                <a:ea typeface="ＭＳ Ｐゴシック" charset="-128"/>
                <a:cs typeface="Arial" panose="020B0604020202020204" pitchFamily="34" charset="0"/>
              </a:rPr>
              <a:t>From pilot to scale up</a:t>
            </a:r>
            <a:br>
              <a:rPr lang="en-US" sz="35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</a:br>
            <a:r>
              <a:rPr lang="en-US" sz="35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D</a:t>
            </a:r>
            <a:r>
              <a:rPr lang="en-US" sz="3196" kern="1200">
                <a:solidFill>
                  <a:prstClr val="white"/>
                </a:solidFill>
                <a:latin typeface="Siemens Sans" pitchFamily="2" charset="0"/>
                <a:ea typeface="ＭＳ Ｐゴシック" charset="-128"/>
              </a:rPr>
              <a:t>igitized process with the ability to scale and address the deeper supply chain</a:t>
            </a:r>
            <a:endParaRPr lang="en-US" sz="3596" kern="1200">
              <a:solidFill>
                <a:prstClr val="white"/>
              </a:solidFill>
              <a:latin typeface="Siemens Sans" pitchFamily="2" charset="0"/>
              <a:ea typeface="ＭＳ Ｐゴシック" charset="-128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7D40887-000E-1200-1AE9-75F966BFD04A}"/>
              </a:ext>
            </a:extLst>
          </p:cNvPr>
          <p:cNvGrpSpPr/>
          <p:nvPr/>
        </p:nvGrpSpPr>
        <p:grpSpPr>
          <a:xfrm>
            <a:off x="17456494" y="9283005"/>
            <a:ext cx="5854317" cy="3166564"/>
            <a:chOff x="8730186" y="4642212"/>
            <a:chExt cx="2928874" cy="1584210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F60D8077-ADF7-0788-3647-5A5FC521BB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0186" y="4642212"/>
              <a:ext cx="2537703" cy="1183877"/>
            </a:xfrm>
            <a:prstGeom prst="rect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02828E35-E123-E90C-F401-151E35FE7447}"/>
                </a:ext>
              </a:extLst>
            </p:cNvPr>
            <p:cNvPicPr>
              <a:picLocks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99250" y="5002830"/>
              <a:ext cx="2259810" cy="1223592"/>
            </a:xfrm>
            <a:prstGeom prst="rect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</p:pic>
      </p:grp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E7633C65-8F23-F798-82FA-3D3DF1C467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118182" y="12621600"/>
            <a:ext cx="18430800" cy="1094400"/>
          </a:xfrm>
        </p:spPr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  <p:sp>
        <p:nvSpPr>
          <p:cNvPr id="11" name="Slide Number Placeholder 28">
            <a:extLst>
              <a:ext uri="{FF2B5EF4-FFF2-40B4-BE49-F238E27FC236}">
                <a16:creationId xmlns:a16="http://schemas.microsoft.com/office/drawing/2014/main" id="{4D133E6A-D9DD-3095-E4A6-958FF43221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2270" y="12621600"/>
            <a:ext cx="1295916" cy="1094400"/>
          </a:xfrm>
        </p:spPr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Page </a:t>
            </a:r>
            <a:fld id="{15EBE321-CBB1-4E91-BD14-37C8D44326FB}" type="slidenum">
              <a:rPr lang="en-US" kern="1200">
                <a:solidFill>
                  <a:prstClr val="white"/>
                </a:solidFill>
                <a:latin typeface="Siemens Sans"/>
              </a:rPr>
              <a:pPr defTabSz="1828709" hangingPunct="1"/>
              <a:t>8</a:t>
            </a:fld>
            <a:endParaRPr lang="en-US" kern="1200">
              <a:solidFill>
                <a:prstClr val="white"/>
              </a:solidFill>
              <a:latin typeface="Siemens Sans"/>
            </a:endParaRPr>
          </a:p>
        </p:txBody>
      </p:sp>
    </p:spTree>
    <p:extLst>
      <p:ext uri="{BB962C8B-B14F-4D97-AF65-F5344CB8AC3E}">
        <p14:creationId xmlns:p14="http://schemas.microsoft.com/office/powerpoint/2010/main" val="2004678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8" grpId="0"/>
      <p:bldP spid="19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64C565F-60B5-40A1-83B5-1A2E49E6BC7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2645" y="2951161"/>
            <a:ext cx="7758263" cy="7699489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FA63907A-E55D-4995-9378-D33525BEE3C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6682" y="4386087"/>
            <a:ext cx="8675347" cy="4879882"/>
          </a:xfrm>
          <a:prstGeom prst="rect">
            <a:avLst/>
          </a:prstGeom>
        </p:spPr>
      </p:pic>
      <p:sp>
        <p:nvSpPr>
          <p:cNvPr id="161800" name="Title 161799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0746" y="961056"/>
            <a:ext cx="22859748" cy="1151325"/>
          </a:xfrm>
        </p:spPr>
        <p:txBody>
          <a:bodyPr/>
          <a:lstStyle/>
          <a:p>
            <a:r>
              <a:rPr lang="en-US">
                <a:latin typeface="Siemens Sans" pitchFamily="2" charset="0"/>
              </a:rPr>
              <a:t>Carbon Web Assessment follows an </a:t>
            </a:r>
            <a:r>
              <a:rPr lang="en-US">
                <a:latin typeface="Siemens Sans" pitchFamily="2" charset="0"/>
                <a:cs typeface="Arial" panose="020B0604020202020204" pitchFamily="34" charset="0"/>
              </a:rPr>
              <a:t>iterative cycle </a:t>
            </a:r>
            <a:r>
              <a:rPr lang="en-US">
                <a:latin typeface="Siemens Sans" pitchFamily="2" charset="0"/>
              </a:rPr>
              <a:t>of assessing emissions, detecting biggest contributors and developing action pla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1CE573-B5AC-407B-9DB8-C347C1221C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Unrestricted | © Siemens 2025 | Supply Chain Management 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3F8D9E-FD72-4396-96B9-18DBAF588F9F}"/>
              </a:ext>
            </a:extLst>
          </p:cNvPr>
          <p:cNvGrpSpPr/>
          <p:nvPr/>
        </p:nvGrpSpPr>
        <p:grpSpPr>
          <a:xfrm>
            <a:off x="7437076" y="3032724"/>
            <a:ext cx="9435188" cy="7390197"/>
            <a:chOff x="3705616" y="1693275"/>
            <a:chExt cx="4722817" cy="3699189"/>
          </a:xfrm>
        </p:grpSpPr>
        <p:sp>
          <p:nvSpPr>
            <p:cNvPr id="18" name="Freeform 17"/>
            <p:cNvSpPr/>
            <p:nvPr/>
          </p:nvSpPr>
          <p:spPr bwMode="auto">
            <a:xfrm rot="14400000">
              <a:off x="4647602" y="876085"/>
              <a:ext cx="1932028" cy="3816000"/>
            </a:xfrm>
            <a:custGeom>
              <a:avLst/>
              <a:gdLst>
                <a:gd name="connsiteX0" fmla="*/ 279798 w 1932028"/>
                <a:gd name="connsiteY0" fmla="*/ 3063581 h 3816000"/>
                <a:gd name="connsiteX1" fmla="*/ 274942 w 1932028"/>
                <a:gd name="connsiteY1" fmla="*/ 3065103 h 3816000"/>
                <a:gd name="connsiteX2" fmla="*/ 9880 w 1932028"/>
                <a:gd name="connsiteY2" fmla="*/ 3092176 h 3816000"/>
                <a:gd name="connsiteX3" fmla="*/ 9526 w 1932028"/>
                <a:gd name="connsiteY3" fmla="*/ 3092152 h 3816000"/>
                <a:gd name="connsiteX4" fmla="*/ 9783 w 1932028"/>
                <a:gd name="connsiteY4" fmla="*/ 3091550 h 3816000"/>
                <a:gd name="connsiteX5" fmla="*/ 9234 w 1932028"/>
                <a:gd name="connsiteY5" fmla="*/ 3090371 h 3816000"/>
                <a:gd name="connsiteX6" fmla="*/ 23452 w 1932028"/>
                <a:gd name="connsiteY6" fmla="*/ 3091088 h 3816000"/>
                <a:gd name="connsiteX7" fmla="*/ 262002 w 1932028"/>
                <a:gd name="connsiteY7" fmla="*/ 3067041 h 3816000"/>
                <a:gd name="connsiteX8" fmla="*/ 279608 w 1932028"/>
                <a:gd name="connsiteY8" fmla="*/ 3062514 h 3816000"/>
                <a:gd name="connsiteX9" fmla="*/ 454609 w 1932028"/>
                <a:gd name="connsiteY9" fmla="*/ 3008896 h 3816000"/>
                <a:gd name="connsiteX10" fmla="*/ 397113 w 1932028"/>
                <a:gd name="connsiteY10" fmla="*/ 3031339 h 3816000"/>
                <a:gd name="connsiteX11" fmla="*/ 395878 w 1932028"/>
                <a:gd name="connsiteY11" fmla="*/ 3030392 h 3816000"/>
                <a:gd name="connsiteX12" fmla="*/ 38490 w 1932028"/>
                <a:gd name="connsiteY12" fmla="*/ 3815241 h 3816000"/>
                <a:gd name="connsiteX13" fmla="*/ 23452 w 1932028"/>
                <a:gd name="connsiteY13" fmla="*/ 3816000 h 3816000"/>
                <a:gd name="connsiteX14" fmla="*/ 176 w 1932028"/>
                <a:gd name="connsiteY14" fmla="*/ 3814825 h 3816000"/>
                <a:gd name="connsiteX15" fmla="*/ 0 w 1932028"/>
                <a:gd name="connsiteY15" fmla="*/ 3814381 h 3816000"/>
                <a:gd name="connsiteX16" fmla="*/ 229119 w 1932028"/>
                <a:gd name="connsiteY16" fmla="*/ 3804540 h 3816000"/>
                <a:gd name="connsiteX17" fmla="*/ 218593 w 1932028"/>
                <a:gd name="connsiteY17" fmla="*/ 3806146 h 3816000"/>
                <a:gd name="connsiteX18" fmla="*/ 184925 w 1932028"/>
                <a:gd name="connsiteY18" fmla="*/ 3807846 h 3816000"/>
                <a:gd name="connsiteX19" fmla="*/ 950547 w 1932028"/>
                <a:gd name="connsiteY19" fmla="*/ 2644778 h 3816000"/>
                <a:gd name="connsiteX20" fmla="*/ 933362 w 1932028"/>
                <a:gd name="connsiteY20" fmla="*/ 2664454 h 3816000"/>
                <a:gd name="connsiteX21" fmla="*/ 913643 w 1932028"/>
                <a:gd name="connsiteY21" fmla="*/ 2689246 h 3816000"/>
                <a:gd name="connsiteX22" fmla="*/ 892604 w 1932028"/>
                <a:gd name="connsiteY22" fmla="*/ 2711120 h 3816000"/>
                <a:gd name="connsiteX23" fmla="*/ 878969 w 1932028"/>
                <a:gd name="connsiteY23" fmla="*/ 2726730 h 3816000"/>
                <a:gd name="connsiteX24" fmla="*/ 862995 w 1932028"/>
                <a:gd name="connsiteY24" fmla="*/ 2741904 h 3816000"/>
                <a:gd name="connsiteX25" fmla="*/ 837427 w 1932028"/>
                <a:gd name="connsiteY25" fmla="*/ 2768487 h 3816000"/>
                <a:gd name="connsiteX26" fmla="*/ 811120 w 1932028"/>
                <a:gd name="connsiteY26" fmla="*/ 2791178 h 3816000"/>
                <a:gd name="connsiteX27" fmla="*/ 799188 w 1932028"/>
                <a:gd name="connsiteY27" fmla="*/ 2802514 h 3816000"/>
                <a:gd name="connsiteX28" fmla="*/ 785728 w 1932028"/>
                <a:gd name="connsiteY28" fmla="*/ 2813081 h 3816000"/>
                <a:gd name="connsiteX29" fmla="*/ 755086 w 1932028"/>
                <a:gd name="connsiteY29" fmla="*/ 2839512 h 3816000"/>
                <a:gd name="connsiteX30" fmla="*/ 722067 w 1932028"/>
                <a:gd name="connsiteY30" fmla="*/ 2863065 h 3816000"/>
                <a:gd name="connsiteX31" fmla="*/ 711381 w 1932028"/>
                <a:gd name="connsiteY31" fmla="*/ 2871456 h 3816000"/>
                <a:gd name="connsiteX32" fmla="*/ 700580 w 1932028"/>
                <a:gd name="connsiteY32" fmla="*/ 2878393 h 3816000"/>
                <a:gd name="connsiteX33" fmla="*/ 667290 w 1932028"/>
                <a:gd name="connsiteY33" fmla="*/ 2902140 h 3816000"/>
                <a:gd name="connsiteX34" fmla="*/ 626787 w 1932028"/>
                <a:gd name="connsiteY34" fmla="*/ 2925787 h 3816000"/>
                <a:gd name="connsiteX35" fmla="*/ 615727 w 1932028"/>
                <a:gd name="connsiteY35" fmla="*/ 2932890 h 3816000"/>
                <a:gd name="connsiteX36" fmla="*/ 606741 w 1932028"/>
                <a:gd name="connsiteY36" fmla="*/ 2937490 h 3816000"/>
                <a:gd name="connsiteX37" fmla="*/ 574708 w 1932028"/>
                <a:gd name="connsiteY37" fmla="*/ 2956193 h 3816000"/>
                <a:gd name="connsiteX38" fmla="*/ 521745 w 1932028"/>
                <a:gd name="connsiteY38" fmla="*/ 2981002 h 3816000"/>
                <a:gd name="connsiteX39" fmla="*/ 507862 w 1932028"/>
                <a:gd name="connsiteY39" fmla="*/ 2988110 h 3816000"/>
                <a:gd name="connsiteX40" fmla="*/ 500132 w 1932028"/>
                <a:gd name="connsiteY40" fmla="*/ 2991127 h 3816000"/>
                <a:gd name="connsiteX41" fmla="*/ 478009 w 1932028"/>
                <a:gd name="connsiteY41" fmla="*/ 3001490 h 3816000"/>
                <a:gd name="connsiteX42" fmla="*/ 456046 w 1932028"/>
                <a:gd name="connsiteY42" fmla="*/ 3008370 h 3816000"/>
                <a:gd name="connsiteX43" fmla="*/ 484187 w 1932028"/>
                <a:gd name="connsiteY43" fmla="*/ 2998070 h 3816000"/>
                <a:gd name="connsiteX44" fmla="*/ 936825 w 1932028"/>
                <a:gd name="connsiteY44" fmla="*/ 2660345 h 3816000"/>
                <a:gd name="connsiteX45" fmla="*/ 949032 w 1932028"/>
                <a:gd name="connsiteY45" fmla="*/ 2644020 h 3816000"/>
                <a:gd name="connsiteX46" fmla="*/ 418421 w 1932028"/>
                <a:gd name="connsiteY46" fmla="*/ 3774570 h 3816000"/>
                <a:gd name="connsiteX47" fmla="*/ 408097 w 1932028"/>
                <a:gd name="connsiteY47" fmla="*/ 3777224 h 3816000"/>
                <a:gd name="connsiteX48" fmla="*/ 369064 w 1932028"/>
                <a:gd name="connsiteY48" fmla="*/ 3783182 h 3816000"/>
                <a:gd name="connsiteX49" fmla="*/ 603635 w 1932028"/>
                <a:gd name="connsiteY49" fmla="*/ 3725571 h 3816000"/>
                <a:gd name="connsiteX50" fmla="*/ 591004 w 1932028"/>
                <a:gd name="connsiteY50" fmla="*/ 3730194 h 3816000"/>
                <a:gd name="connsiteX51" fmla="*/ 540290 w 1932028"/>
                <a:gd name="connsiteY51" fmla="*/ 3743234 h 3816000"/>
                <a:gd name="connsiteX52" fmla="*/ 782768 w 1932028"/>
                <a:gd name="connsiteY52" fmla="*/ 3658108 h 3816000"/>
                <a:gd name="connsiteX53" fmla="*/ 766356 w 1932028"/>
                <a:gd name="connsiteY53" fmla="*/ 3666015 h 3816000"/>
                <a:gd name="connsiteX54" fmla="*/ 704716 w 1932028"/>
                <a:gd name="connsiteY54" fmla="*/ 3688575 h 3816000"/>
                <a:gd name="connsiteX55" fmla="*/ 953394 w 1932028"/>
                <a:gd name="connsiteY55" fmla="*/ 3573372 h 3816000"/>
                <a:gd name="connsiteX56" fmla="*/ 933192 w 1932028"/>
                <a:gd name="connsiteY56" fmla="*/ 3585645 h 3816000"/>
                <a:gd name="connsiteX57" fmla="*/ 869261 w 1932028"/>
                <a:gd name="connsiteY57" fmla="*/ 3616442 h 3816000"/>
                <a:gd name="connsiteX58" fmla="*/ 1105096 w 1932028"/>
                <a:gd name="connsiteY58" fmla="*/ 3479171 h 3816000"/>
                <a:gd name="connsiteX59" fmla="*/ 1090555 w 1932028"/>
                <a:gd name="connsiteY59" fmla="*/ 3490045 h 3816000"/>
                <a:gd name="connsiteX60" fmla="*/ 1046388 w 1932028"/>
                <a:gd name="connsiteY60" fmla="*/ 3516877 h 3816000"/>
                <a:gd name="connsiteX61" fmla="*/ 1245922 w 1932028"/>
                <a:gd name="connsiteY61" fmla="*/ 3372505 h 3816000"/>
                <a:gd name="connsiteX62" fmla="*/ 1237483 w 1932028"/>
                <a:gd name="connsiteY62" fmla="*/ 3380174 h 3816000"/>
                <a:gd name="connsiteX63" fmla="*/ 1209555 w 1932028"/>
                <a:gd name="connsiteY63" fmla="*/ 3401058 h 3816000"/>
                <a:gd name="connsiteX64" fmla="*/ 1381617 w 1932028"/>
                <a:gd name="connsiteY64" fmla="*/ 3247531 h 3816000"/>
                <a:gd name="connsiteX65" fmla="*/ 1373019 w 1932028"/>
                <a:gd name="connsiteY65" fmla="*/ 3256991 h 3816000"/>
                <a:gd name="connsiteX66" fmla="*/ 1358697 w 1932028"/>
                <a:gd name="connsiteY66" fmla="*/ 3270007 h 3816000"/>
                <a:gd name="connsiteX67" fmla="*/ 1373757 w 1932028"/>
                <a:gd name="connsiteY67" fmla="*/ 3255702 h 3816000"/>
                <a:gd name="connsiteX68" fmla="*/ 1701673 w 1932028"/>
                <a:gd name="connsiteY68" fmla="*/ 2817164 h 3816000"/>
                <a:gd name="connsiteX69" fmla="*/ 1662529 w 1932028"/>
                <a:gd name="connsiteY69" fmla="*/ 2881597 h 3816000"/>
                <a:gd name="connsiteX70" fmla="*/ 1276073 w 1932028"/>
                <a:gd name="connsiteY70" fmla="*/ 2824080 h 3816000"/>
                <a:gd name="connsiteX71" fmla="*/ 1041434 w 1932028"/>
                <a:gd name="connsiteY71" fmla="*/ 2511709 h 3816000"/>
                <a:gd name="connsiteX72" fmla="*/ 1040005 w 1932028"/>
                <a:gd name="connsiteY72" fmla="*/ 2511545 h 3816000"/>
                <a:gd name="connsiteX73" fmla="*/ 1064255 w 1932028"/>
                <a:gd name="connsiteY73" fmla="*/ 2471629 h 3816000"/>
                <a:gd name="connsiteX74" fmla="*/ 1207116 w 1932028"/>
                <a:gd name="connsiteY74" fmla="*/ 1907424 h 3816000"/>
                <a:gd name="connsiteX75" fmla="*/ 144475 w 1932028"/>
                <a:gd name="connsiteY75" fmla="*/ 729872 h 3816000"/>
                <a:gd name="connsiteX76" fmla="*/ 37123 w 1932028"/>
                <a:gd name="connsiteY76" fmla="*/ 724450 h 3816000"/>
                <a:gd name="connsiteX77" fmla="*/ 190324 w 1932028"/>
                <a:gd name="connsiteY77" fmla="*/ 365061 h 3816000"/>
                <a:gd name="connsiteX78" fmla="*/ 46267 w 1932028"/>
                <a:gd name="connsiteY78" fmla="*/ 0 h 3816000"/>
                <a:gd name="connsiteX79" fmla="*/ 218593 w 1932028"/>
                <a:gd name="connsiteY79" fmla="*/ 8702 h 3816000"/>
                <a:gd name="connsiteX80" fmla="*/ 1932028 w 1932028"/>
                <a:gd name="connsiteY80" fmla="*/ 1907424 h 3816000"/>
                <a:gd name="connsiteX81" fmla="*/ 1701673 w 1932028"/>
                <a:gd name="connsiteY81" fmla="*/ 2817164 h 38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932028" h="3816000">
                  <a:moveTo>
                    <a:pt x="279798" y="3063581"/>
                  </a:moveTo>
                  <a:lnTo>
                    <a:pt x="274942" y="3065103"/>
                  </a:lnTo>
                  <a:cubicBezTo>
                    <a:pt x="188201" y="3083963"/>
                    <a:pt x="99266" y="3093144"/>
                    <a:pt x="9880" y="3092176"/>
                  </a:cubicBezTo>
                  <a:lnTo>
                    <a:pt x="9526" y="3092152"/>
                  </a:lnTo>
                  <a:lnTo>
                    <a:pt x="9783" y="3091550"/>
                  </a:lnTo>
                  <a:lnTo>
                    <a:pt x="9234" y="3090371"/>
                  </a:lnTo>
                  <a:lnTo>
                    <a:pt x="23452" y="3091088"/>
                  </a:lnTo>
                  <a:cubicBezTo>
                    <a:pt x="105167" y="3091088"/>
                    <a:pt x="184948" y="3082808"/>
                    <a:pt x="262002" y="3067041"/>
                  </a:cubicBezTo>
                  <a:lnTo>
                    <a:pt x="279608" y="3062514"/>
                  </a:lnTo>
                  <a:close/>
                  <a:moveTo>
                    <a:pt x="454609" y="3008896"/>
                  </a:moveTo>
                  <a:lnTo>
                    <a:pt x="397113" y="3031339"/>
                  </a:lnTo>
                  <a:lnTo>
                    <a:pt x="395878" y="3030392"/>
                  </a:lnTo>
                  <a:close/>
                  <a:moveTo>
                    <a:pt x="38490" y="3815241"/>
                  </a:moveTo>
                  <a:lnTo>
                    <a:pt x="23452" y="3816000"/>
                  </a:lnTo>
                  <a:lnTo>
                    <a:pt x="176" y="3814825"/>
                  </a:lnTo>
                  <a:lnTo>
                    <a:pt x="0" y="3814381"/>
                  </a:lnTo>
                  <a:close/>
                  <a:moveTo>
                    <a:pt x="229119" y="3804540"/>
                  </a:moveTo>
                  <a:lnTo>
                    <a:pt x="218593" y="3806146"/>
                  </a:lnTo>
                  <a:lnTo>
                    <a:pt x="184925" y="3807846"/>
                  </a:lnTo>
                  <a:close/>
                  <a:moveTo>
                    <a:pt x="950547" y="2644778"/>
                  </a:moveTo>
                  <a:lnTo>
                    <a:pt x="933362" y="2664454"/>
                  </a:lnTo>
                  <a:lnTo>
                    <a:pt x="913643" y="2689246"/>
                  </a:lnTo>
                  <a:lnTo>
                    <a:pt x="892604" y="2711120"/>
                  </a:lnTo>
                  <a:lnTo>
                    <a:pt x="878969" y="2726730"/>
                  </a:lnTo>
                  <a:lnTo>
                    <a:pt x="862995" y="2741904"/>
                  </a:lnTo>
                  <a:lnTo>
                    <a:pt x="837427" y="2768487"/>
                  </a:lnTo>
                  <a:lnTo>
                    <a:pt x="811120" y="2791178"/>
                  </a:lnTo>
                  <a:lnTo>
                    <a:pt x="799188" y="2802514"/>
                  </a:lnTo>
                  <a:lnTo>
                    <a:pt x="785728" y="2813081"/>
                  </a:lnTo>
                  <a:lnTo>
                    <a:pt x="755086" y="2839512"/>
                  </a:lnTo>
                  <a:lnTo>
                    <a:pt x="722067" y="2863065"/>
                  </a:lnTo>
                  <a:lnTo>
                    <a:pt x="711381" y="2871456"/>
                  </a:lnTo>
                  <a:lnTo>
                    <a:pt x="700580" y="2878393"/>
                  </a:lnTo>
                  <a:lnTo>
                    <a:pt x="667290" y="2902140"/>
                  </a:lnTo>
                  <a:lnTo>
                    <a:pt x="626787" y="2925787"/>
                  </a:lnTo>
                  <a:lnTo>
                    <a:pt x="615727" y="2932890"/>
                  </a:lnTo>
                  <a:lnTo>
                    <a:pt x="606741" y="2937490"/>
                  </a:lnTo>
                  <a:lnTo>
                    <a:pt x="574708" y="2956193"/>
                  </a:lnTo>
                  <a:lnTo>
                    <a:pt x="521745" y="2981002"/>
                  </a:lnTo>
                  <a:lnTo>
                    <a:pt x="507862" y="2988110"/>
                  </a:lnTo>
                  <a:lnTo>
                    <a:pt x="500132" y="2991127"/>
                  </a:lnTo>
                  <a:lnTo>
                    <a:pt x="478009" y="3001490"/>
                  </a:lnTo>
                  <a:lnTo>
                    <a:pt x="456046" y="3008370"/>
                  </a:lnTo>
                  <a:lnTo>
                    <a:pt x="484187" y="2998070"/>
                  </a:lnTo>
                  <a:cubicBezTo>
                    <a:pt x="661202" y="2923200"/>
                    <a:pt x="816213" y="2806493"/>
                    <a:pt x="936825" y="2660345"/>
                  </a:cubicBezTo>
                  <a:lnTo>
                    <a:pt x="949032" y="2644020"/>
                  </a:lnTo>
                  <a:close/>
                  <a:moveTo>
                    <a:pt x="418421" y="3774570"/>
                  </a:moveTo>
                  <a:lnTo>
                    <a:pt x="408097" y="3777224"/>
                  </a:lnTo>
                  <a:lnTo>
                    <a:pt x="369064" y="3783182"/>
                  </a:lnTo>
                  <a:close/>
                  <a:moveTo>
                    <a:pt x="603635" y="3725571"/>
                  </a:moveTo>
                  <a:lnTo>
                    <a:pt x="591004" y="3730194"/>
                  </a:lnTo>
                  <a:lnTo>
                    <a:pt x="540290" y="3743234"/>
                  </a:lnTo>
                  <a:close/>
                  <a:moveTo>
                    <a:pt x="782768" y="3658108"/>
                  </a:moveTo>
                  <a:lnTo>
                    <a:pt x="766356" y="3666015"/>
                  </a:lnTo>
                  <a:lnTo>
                    <a:pt x="704716" y="3688575"/>
                  </a:lnTo>
                  <a:close/>
                  <a:moveTo>
                    <a:pt x="953394" y="3573372"/>
                  </a:moveTo>
                  <a:lnTo>
                    <a:pt x="933192" y="3585645"/>
                  </a:lnTo>
                  <a:lnTo>
                    <a:pt x="869261" y="3616442"/>
                  </a:lnTo>
                  <a:close/>
                  <a:moveTo>
                    <a:pt x="1105096" y="3479171"/>
                  </a:moveTo>
                  <a:lnTo>
                    <a:pt x="1090555" y="3490045"/>
                  </a:lnTo>
                  <a:lnTo>
                    <a:pt x="1046388" y="3516877"/>
                  </a:lnTo>
                  <a:close/>
                  <a:moveTo>
                    <a:pt x="1245922" y="3372505"/>
                  </a:moveTo>
                  <a:lnTo>
                    <a:pt x="1237483" y="3380174"/>
                  </a:lnTo>
                  <a:lnTo>
                    <a:pt x="1209555" y="3401058"/>
                  </a:lnTo>
                  <a:close/>
                  <a:moveTo>
                    <a:pt x="1381617" y="3247531"/>
                  </a:moveTo>
                  <a:lnTo>
                    <a:pt x="1373019" y="3256991"/>
                  </a:lnTo>
                  <a:lnTo>
                    <a:pt x="1358697" y="3270007"/>
                  </a:lnTo>
                  <a:lnTo>
                    <a:pt x="1373757" y="3255702"/>
                  </a:lnTo>
                  <a:close/>
                  <a:moveTo>
                    <a:pt x="1701673" y="2817164"/>
                  </a:moveTo>
                  <a:lnTo>
                    <a:pt x="1662529" y="2881597"/>
                  </a:lnTo>
                  <a:lnTo>
                    <a:pt x="1276073" y="2824080"/>
                  </a:lnTo>
                  <a:lnTo>
                    <a:pt x="1041434" y="2511709"/>
                  </a:lnTo>
                  <a:lnTo>
                    <a:pt x="1040005" y="2511545"/>
                  </a:lnTo>
                  <a:lnTo>
                    <a:pt x="1064255" y="2471629"/>
                  </a:lnTo>
                  <a:cubicBezTo>
                    <a:pt x="1155364" y="2303912"/>
                    <a:pt x="1207117" y="2111711"/>
                    <a:pt x="1207116" y="1907424"/>
                  </a:cubicBezTo>
                  <a:cubicBezTo>
                    <a:pt x="1207116" y="1294562"/>
                    <a:pt x="741345" y="790487"/>
                    <a:pt x="144475" y="729872"/>
                  </a:cubicBezTo>
                  <a:lnTo>
                    <a:pt x="37123" y="724450"/>
                  </a:lnTo>
                  <a:lnTo>
                    <a:pt x="190324" y="365061"/>
                  </a:lnTo>
                  <a:lnTo>
                    <a:pt x="46267" y="0"/>
                  </a:lnTo>
                  <a:lnTo>
                    <a:pt x="218593" y="8702"/>
                  </a:lnTo>
                  <a:cubicBezTo>
                    <a:pt x="1181004" y="106440"/>
                    <a:pt x="1932028" y="919228"/>
                    <a:pt x="1932028" y="1907424"/>
                  </a:cubicBezTo>
                  <a:cubicBezTo>
                    <a:pt x="1932028" y="2236823"/>
                    <a:pt x="1848581" y="2546732"/>
                    <a:pt x="1701673" y="2817164"/>
                  </a:cubicBezTo>
                  <a:close/>
                </a:path>
              </a:pathLst>
            </a:custGeom>
            <a:solidFill>
              <a:srgbClr val="66667E"/>
            </a:solidFill>
            <a:ln w="38100">
              <a:solidFill>
                <a:schemeClr val="bg2"/>
              </a:solidFill>
            </a:ln>
            <a:effectLst/>
          </p:spPr>
          <p:txBody>
            <a:bodyPr wrap="square" lIns="215762" tIns="107881" rIns="215762" bIns="107881" numCol="1" spcCol="72000" rtlCol="0" anchor="ctr">
              <a:noAutofit/>
            </a:bodyPr>
            <a:lstStyle/>
            <a:p>
              <a:pPr defTabSz="1827795" hangingPunct="1">
                <a:lnSpc>
                  <a:spcPct val="110000"/>
                </a:lnSpc>
                <a:spcBef>
                  <a:spcPct val="0"/>
                </a:spcBef>
                <a:defRPr/>
              </a:pPr>
              <a:endParaRPr lang="en-US" sz="3596" kern="1200">
                <a:solidFill>
                  <a:prstClr val="white"/>
                </a:solidFill>
                <a:latin typeface="Siemens Sans" pitchFamily="2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" name="Freeform 21"/>
            <p:cNvSpPr/>
            <p:nvPr/>
          </p:nvSpPr>
          <p:spPr bwMode="auto">
            <a:xfrm rot="3600000">
              <a:off x="5482710" y="2446741"/>
              <a:ext cx="2075446" cy="3816000"/>
            </a:xfrm>
            <a:custGeom>
              <a:avLst/>
              <a:gdLst>
                <a:gd name="connsiteX0" fmla="*/ 152652 w 2075446"/>
                <a:gd name="connsiteY0" fmla="*/ 3090371 h 3816000"/>
                <a:gd name="connsiteX1" fmla="*/ 166870 w 2075446"/>
                <a:gd name="connsiteY1" fmla="*/ 3091088 h 3816000"/>
                <a:gd name="connsiteX2" fmla="*/ 1350534 w 2075446"/>
                <a:gd name="connsiteY2" fmla="*/ 1907424 h 3816000"/>
                <a:gd name="connsiteX3" fmla="*/ 1224291 w 2075446"/>
                <a:gd name="connsiteY3" fmla="*/ 1374950 h 3816000"/>
                <a:gd name="connsiteX4" fmla="*/ 1198147 w 2075446"/>
                <a:gd name="connsiteY4" fmla="*/ 1328505 h 3816000"/>
                <a:gd name="connsiteX5" fmla="*/ 1198523 w 2075446"/>
                <a:gd name="connsiteY5" fmla="*/ 1327968 h 3816000"/>
                <a:gd name="connsiteX6" fmla="*/ 1586364 w 2075446"/>
                <a:gd name="connsiteY6" fmla="*/ 1280948 h 3816000"/>
                <a:gd name="connsiteX7" fmla="*/ 1829406 w 2075446"/>
                <a:gd name="connsiteY7" fmla="*/ 975022 h 3816000"/>
                <a:gd name="connsiteX8" fmla="*/ 1829863 w 2075446"/>
                <a:gd name="connsiteY8" fmla="*/ 974191 h 3816000"/>
                <a:gd name="connsiteX9" fmla="*/ 1871888 w 2075446"/>
                <a:gd name="connsiteY9" fmla="*/ 1048848 h 3816000"/>
                <a:gd name="connsiteX10" fmla="*/ 2075446 w 2075446"/>
                <a:gd name="connsiteY10" fmla="*/ 1907424 h 3816000"/>
                <a:gd name="connsiteX11" fmla="*/ 166870 w 2075446"/>
                <a:gd name="connsiteY11" fmla="*/ 3816000 h 3816000"/>
                <a:gd name="connsiteX12" fmla="*/ 143593 w 2075446"/>
                <a:gd name="connsiteY12" fmla="*/ 3814825 h 3816000"/>
                <a:gd name="connsiteX13" fmla="*/ 0 w 2075446"/>
                <a:gd name="connsiteY13" fmla="*/ 3450939 h 3816000"/>
                <a:gd name="connsiteX14" fmla="*/ 153201 w 2075446"/>
                <a:gd name="connsiteY14" fmla="*/ 3091550 h 3816000"/>
                <a:gd name="connsiteX15" fmla="*/ 1027356 w 2075446"/>
                <a:gd name="connsiteY15" fmla="*/ 1095778 h 3816000"/>
                <a:gd name="connsiteX16" fmla="*/ 1036370 w 2075446"/>
                <a:gd name="connsiteY16" fmla="*/ 1104611 h 3816000"/>
                <a:gd name="connsiteX17" fmla="*/ 1037604 w 2075446"/>
                <a:gd name="connsiteY17" fmla="*/ 1106087 h 3816000"/>
                <a:gd name="connsiteX18" fmla="*/ 938074 w 2075446"/>
                <a:gd name="connsiteY18" fmla="*/ 1010913 h 3816000"/>
                <a:gd name="connsiteX19" fmla="*/ 952715 w 2075446"/>
                <a:gd name="connsiteY19" fmla="*/ 1022634 h 3816000"/>
                <a:gd name="connsiteX20" fmla="*/ 956904 w 2075446"/>
                <a:gd name="connsiteY20" fmla="*/ 1026739 h 3816000"/>
                <a:gd name="connsiteX21" fmla="*/ 846789 w 2075446"/>
                <a:gd name="connsiteY21" fmla="*/ 939856 h 3816000"/>
                <a:gd name="connsiteX22" fmla="*/ 859902 w 2075446"/>
                <a:gd name="connsiteY22" fmla="*/ 948336 h 3816000"/>
                <a:gd name="connsiteX23" fmla="*/ 866391 w 2075446"/>
                <a:gd name="connsiteY23" fmla="*/ 953531 h 3816000"/>
                <a:gd name="connsiteX24" fmla="*/ 746455 w 2075446"/>
                <a:gd name="connsiteY24" fmla="*/ 876499 h 3816000"/>
                <a:gd name="connsiteX25" fmla="*/ 758149 w 2075446"/>
                <a:gd name="connsiteY25" fmla="*/ 882532 h 3816000"/>
                <a:gd name="connsiteX26" fmla="*/ 766634 w 2075446"/>
                <a:gd name="connsiteY26" fmla="*/ 888019 h 3816000"/>
                <a:gd name="connsiteX27" fmla="*/ 644506 w 2075446"/>
                <a:gd name="connsiteY27" fmla="*/ 825351 h 3816000"/>
                <a:gd name="connsiteX28" fmla="*/ 657119 w 2075446"/>
                <a:gd name="connsiteY28" fmla="*/ 830412 h 3816000"/>
                <a:gd name="connsiteX29" fmla="*/ 668531 w 2075446"/>
                <a:gd name="connsiteY29" fmla="*/ 836299 h 3816000"/>
                <a:gd name="connsiteX30" fmla="*/ 537726 w 2075446"/>
                <a:gd name="connsiteY30" fmla="*/ 784173 h 3816000"/>
                <a:gd name="connsiteX31" fmla="*/ 553509 w 2075446"/>
                <a:gd name="connsiteY31" fmla="*/ 788840 h 3816000"/>
                <a:gd name="connsiteX32" fmla="*/ 569395 w 2075446"/>
                <a:gd name="connsiteY32" fmla="*/ 795213 h 3816000"/>
                <a:gd name="connsiteX33" fmla="*/ 431537 w 2075446"/>
                <a:gd name="connsiteY33" fmla="*/ 754596 h 3816000"/>
                <a:gd name="connsiteX34" fmla="*/ 447988 w 2075446"/>
                <a:gd name="connsiteY34" fmla="*/ 757637 h 3816000"/>
                <a:gd name="connsiteX35" fmla="*/ 469116 w 2075446"/>
                <a:gd name="connsiteY35" fmla="*/ 763885 h 3816000"/>
                <a:gd name="connsiteX36" fmla="*/ 303479 w 2075446"/>
                <a:gd name="connsiteY36" fmla="*/ 732200 h 3816000"/>
                <a:gd name="connsiteX37" fmla="*/ 314420 w 2075446"/>
                <a:gd name="connsiteY37" fmla="*/ 732944 h 3816000"/>
                <a:gd name="connsiteX38" fmla="*/ 339558 w 2075446"/>
                <a:gd name="connsiteY38" fmla="*/ 737592 h 3816000"/>
                <a:gd name="connsiteX39" fmla="*/ 658691 w 2075446"/>
                <a:gd name="connsiteY39" fmla="*/ 64652 h 3816000"/>
                <a:gd name="connsiteX40" fmla="*/ 711952 w 2075446"/>
                <a:gd name="connsiteY40" fmla="*/ 77818 h 3816000"/>
                <a:gd name="connsiteX41" fmla="*/ 1579632 w 2075446"/>
                <a:gd name="connsiteY41" fmla="*/ 624141 h 3816000"/>
                <a:gd name="connsiteX42" fmla="*/ 1618046 w 2075446"/>
                <a:gd name="connsiteY42" fmla="*/ 670407 h 3816000"/>
                <a:gd name="connsiteX43" fmla="*/ 1617812 w 2075446"/>
                <a:gd name="connsiteY43" fmla="*/ 670951 h 3816000"/>
                <a:gd name="connsiteX44" fmla="*/ 1585731 w 2075446"/>
                <a:gd name="connsiteY44" fmla="*/ 632580 h 3816000"/>
                <a:gd name="connsiteX45" fmla="*/ 1497599 w 2075446"/>
                <a:gd name="connsiteY45" fmla="*/ 542645 h 3816000"/>
                <a:gd name="connsiteX46" fmla="*/ 1450692 w 2075446"/>
                <a:gd name="connsiteY46" fmla="*/ 496679 h 3816000"/>
                <a:gd name="connsiteX47" fmla="*/ 1368071 w 2075446"/>
                <a:gd name="connsiteY47" fmla="*/ 427605 h 3816000"/>
                <a:gd name="connsiteX48" fmla="*/ 1302692 w 2075446"/>
                <a:gd name="connsiteY48" fmla="*/ 375268 h 3816000"/>
                <a:gd name="connsiteX49" fmla="*/ 1223310 w 2075446"/>
                <a:gd name="connsiteY49" fmla="*/ 321160 h 3816000"/>
                <a:gd name="connsiteX50" fmla="*/ 1144003 w 2075446"/>
                <a:gd name="connsiteY50" fmla="*/ 269873 h 3816000"/>
                <a:gd name="connsiteX51" fmla="*/ 1048519 w 2075446"/>
                <a:gd name="connsiteY51" fmla="*/ 217552 h 3816000"/>
                <a:gd name="connsiteX52" fmla="*/ 986576 w 2075446"/>
                <a:gd name="connsiteY52" fmla="*/ 185595 h 3816000"/>
                <a:gd name="connsiteX53" fmla="*/ 866621 w 2075446"/>
                <a:gd name="connsiteY53" fmla="*/ 134155 h 3816000"/>
                <a:gd name="connsiteX54" fmla="*/ 823787 w 2075446"/>
                <a:gd name="connsiteY54" fmla="*/ 116968 h 3816000"/>
                <a:gd name="connsiteX55" fmla="*/ 678563 w 2075446"/>
                <a:gd name="connsiteY55" fmla="*/ 70527 h 3816000"/>
                <a:gd name="connsiteX56" fmla="*/ 180792 w 2075446"/>
                <a:gd name="connsiteY56" fmla="*/ 723862 h 3816000"/>
                <a:gd name="connsiteX57" fmla="*/ 215199 w 2075446"/>
                <a:gd name="connsiteY57" fmla="*/ 726201 h 3816000"/>
                <a:gd name="connsiteX58" fmla="*/ 180541 w 2075446"/>
                <a:gd name="connsiteY58" fmla="*/ 724450 h 3816000"/>
                <a:gd name="connsiteX59" fmla="*/ 492622 w 2075446"/>
                <a:gd name="connsiteY59" fmla="*/ 28218 h 3816000"/>
                <a:gd name="connsiteX60" fmla="*/ 539854 w 2075446"/>
                <a:gd name="connsiteY60" fmla="*/ 35275 h 3816000"/>
                <a:gd name="connsiteX61" fmla="*/ 647736 w 2075446"/>
                <a:gd name="connsiteY61" fmla="*/ 61943 h 3816000"/>
                <a:gd name="connsiteX62" fmla="*/ 320490 w 2075446"/>
                <a:gd name="connsiteY62" fmla="*/ 6605 h 3816000"/>
                <a:gd name="connsiteX63" fmla="*/ 362011 w 2075446"/>
                <a:gd name="connsiteY63" fmla="*/ 8702 h 3816000"/>
                <a:gd name="connsiteX64" fmla="*/ 455686 w 2075446"/>
                <a:gd name="connsiteY64" fmla="*/ 22699 h 3816000"/>
                <a:gd name="connsiteX65" fmla="*/ 189685 w 2075446"/>
                <a:gd name="connsiteY65" fmla="*/ 0 h 3816000"/>
                <a:gd name="connsiteX66" fmla="*/ 246800 w 2075446"/>
                <a:gd name="connsiteY66" fmla="*/ 2884 h 3816000"/>
                <a:gd name="connsiteX67" fmla="*/ 190325 w 2075446"/>
                <a:gd name="connsiteY67" fmla="*/ 1623 h 38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075446" h="3816000">
                  <a:moveTo>
                    <a:pt x="152652" y="3090371"/>
                  </a:moveTo>
                  <a:lnTo>
                    <a:pt x="166870" y="3091088"/>
                  </a:lnTo>
                  <a:cubicBezTo>
                    <a:pt x="820590" y="3091089"/>
                    <a:pt x="1350534" y="2561144"/>
                    <a:pt x="1350534" y="1907424"/>
                  </a:cubicBezTo>
                  <a:cubicBezTo>
                    <a:pt x="1350534" y="1715905"/>
                    <a:pt x="1305049" y="1535009"/>
                    <a:pt x="1224291" y="1374950"/>
                  </a:cubicBezTo>
                  <a:lnTo>
                    <a:pt x="1198147" y="1328505"/>
                  </a:lnTo>
                  <a:lnTo>
                    <a:pt x="1198523" y="1327968"/>
                  </a:lnTo>
                  <a:lnTo>
                    <a:pt x="1586364" y="1280948"/>
                  </a:lnTo>
                  <a:lnTo>
                    <a:pt x="1829406" y="975022"/>
                  </a:lnTo>
                  <a:lnTo>
                    <a:pt x="1829863" y="974191"/>
                  </a:lnTo>
                  <a:lnTo>
                    <a:pt x="1871888" y="1048848"/>
                  </a:lnTo>
                  <a:cubicBezTo>
                    <a:pt x="2002104" y="1306931"/>
                    <a:pt x="2075446" y="1598613"/>
                    <a:pt x="2075446" y="1907424"/>
                  </a:cubicBezTo>
                  <a:cubicBezTo>
                    <a:pt x="2075446" y="2961501"/>
                    <a:pt x="1220947" y="3816000"/>
                    <a:pt x="166870" y="3816000"/>
                  </a:cubicBezTo>
                  <a:lnTo>
                    <a:pt x="143593" y="3814825"/>
                  </a:lnTo>
                  <a:lnTo>
                    <a:pt x="0" y="3450939"/>
                  </a:lnTo>
                  <a:lnTo>
                    <a:pt x="153201" y="3091550"/>
                  </a:lnTo>
                  <a:close/>
                  <a:moveTo>
                    <a:pt x="1027356" y="1095778"/>
                  </a:moveTo>
                  <a:lnTo>
                    <a:pt x="1036370" y="1104611"/>
                  </a:lnTo>
                  <a:lnTo>
                    <a:pt x="1037604" y="1106087"/>
                  </a:lnTo>
                  <a:close/>
                  <a:moveTo>
                    <a:pt x="938074" y="1010913"/>
                  </a:moveTo>
                  <a:lnTo>
                    <a:pt x="952715" y="1022634"/>
                  </a:lnTo>
                  <a:lnTo>
                    <a:pt x="956904" y="1026739"/>
                  </a:lnTo>
                  <a:close/>
                  <a:moveTo>
                    <a:pt x="846789" y="939856"/>
                  </a:moveTo>
                  <a:lnTo>
                    <a:pt x="859902" y="948336"/>
                  </a:lnTo>
                  <a:lnTo>
                    <a:pt x="866391" y="953531"/>
                  </a:lnTo>
                  <a:close/>
                  <a:moveTo>
                    <a:pt x="746455" y="876499"/>
                  </a:moveTo>
                  <a:lnTo>
                    <a:pt x="758149" y="882532"/>
                  </a:lnTo>
                  <a:lnTo>
                    <a:pt x="766634" y="888019"/>
                  </a:lnTo>
                  <a:close/>
                  <a:moveTo>
                    <a:pt x="644506" y="825351"/>
                  </a:moveTo>
                  <a:lnTo>
                    <a:pt x="657119" y="830412"/>
                  </a:lnTo>
                  <a:lnTo>
                    <a:pt x="668531" y="836299"/>
                  </a:lnTo>
                  <a:close/>
                  <a:moveTo>
                    <a:pt x="537726" y="784173"/>
                  </a:moveTo>
                  <a:lnTo>
                    <a:pt x="553509" y="788840"/>
                  </a:lnTo>
                  <a:lnTo>
                    <a:pt x="569395" y="795213"/>
                  </a:lnTo>
                  <a:close/>
                  <a:moveTo>
                    <a:pt x="431537" y="754596"/>
                  </a:moveTo>
                  <a:lnTo>
                    <a:pt x="447988" y="757637"/>
                  </a:lnTo>
                  <a:lnTo>
                    <a:pt x="469116" y="763885"/>
                  </a:lnTo>
                  <a:close/>
                  <a:moveTo>
                    <a:pt x="303479" y="732200"/>
                  </a:moveTo>
                  <a:lnTo>
                    <a:pt x="314420" y="732944"/>
                  </a:lnTo>
                  <a:lnTo>
                    <a:pt x="339558" y="737592"/>
                  </a:lnTo>
                  <a:close/>
                  <a:moveTo>
                    <a:pt x="658691" y="64652"/>
                  </a:moveTo>
                  <a:lnTo>
                    <a:pt x="711952" y="77818"/>
                  </a:lnTo>
                  <a:cubicBezTo>
                    <a:pt x="1049877" y="178343"/>
                    <a:pt x="1348590" y="369937"/>
                    <a:pt x="1579632" y="624141"/>
                  </a:cubicBezTo>
                  <a:lnTo>
                    <a:pt x="1618046" y="670407"/>
                  </a:lnTo>
                  <a:lnTo>
                    <a:pt x="1617812" y="670951"/>
                  </a:lnTo>
                  <a:lnTo>
                    <a:pt x="1585731" y="632580"/>
                  </a:lnTo>
                  <a:lnTo>
                    <a:pt x="1497599" y="542645"/>
                  </a:lnTo>
                  <a:lnTo>
                    <a:pt x="1450692" y="496679"/>
                  </a:lnTo>
                  <a:lnTo>
                    <a:pt x="1368071" y="427605"/>
                  </a:lnTo>
                  <a:lnTo>
                    <a:pt x="1302692" y="375268"/>
                  </a:lnTo>
                  <a:lnTo>
                    <a:pt x="1223310" y="321160"/>
                  </a:lnTo>
                  <a:lnTo>
                    <a:pt x="1144003" y="269873"/>
                  </a:lnTo>
                  <a:cubicBezTo>
                    <a:pt x="1112176" y="252432"/>
                    <a:pt x="1080347" y="234993"/>
                    <a:pt x="1048519" y="217552"/>
                  </a:cubicBezTo>
                  <a:lnTo>
                    <a:pt x="986576" y="185595"/>
                  </a:lnTo>
                  <a:lnTo>
                    <a:pt x="866621" y="134155"/>
                  </a:lnTo>
                  <a:lnTo>
                    <a:pt x="823787" y="116968"/>
                  </a:lnTo>
                  <a:lnTo>
                    <a:pt x="678563" y="70527"/>
                  </a:lnTo>
                  <a:close/>
                  <a:moveTo>
                    <a:pt x="180792" y="723862"/>
                  </a:moveTo>
                  <a:lnTo>
                    <a:pt x="215199" y="726201"/>
                  </a:lnTo>
                  <a:lnTo>
                    <a:pt x="180541" y="724450"/>
                  </a:lnTo>
                  <a:close/>
                  <a:moveTo>
                    <a:pt x="492622" y="28218"/>
                  </a:moveTo>
                  <a:lnTo>
                    <a:pt x="539854" y="35275"/>
                  </a:lnTo>
                  <a:lnTo>
                    <a:pt x="647736" y="61943"/>
                  </a:lnTo>
                  <a:close/>
                  <a:moveTo>
                    <a:pt x="320490" y="6605"/>
                  </a:moveTo>
                  <a:lnTo>
                    <a:pt x="362011" y="8702"/>
                  </a:lnTo>
                  <a:lnTo>
                    <a:pt x="455686" y="22699"/>
                  </a:lnTo>
                  <a:close/>
                  <a:moveTo>
                    <a:pt x="189685" y="0"/>
                  </a:moveTo>
                  <a:lnTo>
                    <a:pt x="246800" y="2884"/>
                  </a:lnTo>
                  <a:lnTo>
                    <a:pt x="190325" y="1623"/>
                  </a:lnTo>
                  <a:close/>
                </a:path>
              </a:pathLst>
            </a:custGeom>
            <a:solidFill>
              <a:srgbClr val="00FFB9"/>
            </a:solidFill>
            <a:ln w="38100">
              <a:solidFill>
                <a:schemeClr val="bg2"/>
              </a:solidFill>
            </a:ln>
            <a:effectLst/>
          </p:spPr>
          <p:txBody>
            <a:bodyPr wrap="square" lIns="215762" tIns="107881" rIns="215762" bIns="107881" numCol="1" spcCol="72000" rtlCol="0" anchor="ctr">
              <a:noAutofit/>
            </a:bodyPr>
            <a:lstStyle/>
            <a:p>
              <a:pPr defTabSz="1827795" hangingPunct="1">
                <a:lnSpc>
                  <a:spcPct val="110000"/>
                </a:lnSpc>
                <a:spcBef>
                  <a:spcPct val="0"/>
                </a:spcBef>
                <a:defRPr/>
              </a:pPr>
              <a:endParaRPr lang="en-US" sz="3596" kern="1200">
                <a:solidFill>
                  <a:prstClr val="white"/>
                </a:solidFill>
                <a:latin typeface="Siemens Sans" pitchFamily="2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6098733" y="1693275"/>
              <a:ext cx="1893500" cy="2880595"/>
            </a:xfrm>
            <a:custGeom>
              <a:avLst/>
              <a:gdLst>
                <a:gd name="connsiteX0" fmla="*/ 9464 w 1893500"/>
                <a:gd name="connsiteY0" fmla="*/ 0 h 2880595"/>
                <a:gd name="connsiteX1" fmla="*/ 29502 w 1893500"/>
                <a:gd name="connsiteY1" fmla="*/ 218 h 2880595"/>
                <a:gd name="connsiteX2" fmla="*/ 144419 w 1893500"/>
                <a:gd name="connsiteY2" fmla="*/ 6021 h 2880595"/>
                <a:gd name="connsiteX3" fmla="*/ 222513 w 1893500"/>
                <a:gd name="connsiteY3" fmla="*/ 14025 h 2880595"/>
                <a:gd name="connsiteX4" fmla="*/ 312663 w 1893500"/>
                <a:gd name="connsiteY4" fmla="*/ 27495 h 2880595"/>
                <a:gd name="connsiteX5" fmla="*/ 403180 w 1893500"/>
                <a:gd name="connsiteY5" fmla="*/ 45309 h 2880595"/>
                <a:gd name="connsiteX6" fmla="*/ 478155 w 1893500"/>
                <a:gd name="connsiteY6" fmla="*/ 63843 h 2880595"/>
                <a:gd name="connsiteX7" fmla="*/ 580202 w 1893500"/>
                <a:gd name="connsiteY7" fmla="*/ 94018 h 2880595"/>
                <a:gd name="connsiteX8" fmla="*/ 640177 w 1893500"/>
                <a:gd name="connsiteY8" fmla="*/ 114927 h 2880595"/>
                <a:gd name="connsiteX9" fmla="*/ 751835 w 1893500"/>
                <a:gd name="connsiteY9" fmla="*/ 159728 h 2880595"/>
                <a:gd name="connsiteX10" fmla="*/ 800067 w 1893500"/>
                <a:gd name="connsiteY10" fmla="*/ 181707 h 2880595"/>
                <a:gd name="connsiteX11" fmla="*/ 915571 w 1893500"/>
                <a:gd name="connsiteY11" fmla="*/ 241295 h 2880595"/>
                <a:gd name="connsiteX12" fmla="*/ 957837 w 1893500"/>
                <a:gd name="connsiteY12" fmla="*/ 265425 h 2880595"/>
                <a:gd name="connsiteX13" fmla="*/ 1076054 w 1893500"/>
                <a:gd name="connsiteY13" fmla="*/ 341876 h 2880595"/>
                <a:gd name="connsiteX14" fmla="*/ 1118023 w 1893500"/>
                <a:gd name="connsiteY14" fmla="*/ 371153 h 2880595"/>
                <a:gd name="connsiteX15" fmla="*/ 1220110 w 1893500"/>
                <a:gd name="connsiteY15" fmla="*/ 452874 h 2880595"/>
                <a:gd name="connsiteX16" fmla="*/ 1263416 w 1893500"/>
                <a:gd name="connsiteY16" fmla="*/ 489270 h 2880595"/>
                <a:gd name="connsiteX17" fmla="*/ 1356593 w 1893500"/>
                <a:gd name="connsiteY17" fmla="*/ 580578 h 2880595"/>
                <a:gd name="connsiteX18" fmla="*/ 1393066 w 1893500"/>
                <a:gd name="connsiteY18" fmla="*/ 617270 h 2880595"/>
                <a:gd name="connsiteX19" fmla="*/ 1508444 w 1893500"/>
                <a:gd name="connsiteY19" fmla="*/ 755274 h 2880595"/>
                <a:gd name="connsiteX20" fmla="*/ 1612401 w 1893500"/>
                <a:gd name="connsiteY20" fmla="*/ 907790 h 2880595"/>
                <a:gd name="connsiteX21" fmla="*/ 1614934 w 1893500"/>
                <a:gd name="connsiteY21" fmla="*/ 912291 h 2880595"/>
                <a:gd name="connsiteX22" fmla="*/ 1700484 w 1893500"/>
                <a:gd name="connsiteY22" fmla="*/ 1068417 h 2880595"/>
                <a:gd name="connsiteX23" fmla="*/ 1704181 w 1893500"/>
                <a:gd name="connsiteY23" fmla="*/ 1076664 h 2880595"/>
                <a:gd name="connsiteX24" fmla="*/ 1772472 w 1893500"/>
                <a:gd name="connsiteY24" fmla="*/ 1235911 h 2880595"/>
                <a:gd name="connsiteX25" fmla="*/ 1776672 w 1893500"/>
                <a:gd name="connsiteY25" fmla="*/ 1248201 h 2880595"/>
                <a:gd name="connsiteX26" fmla="*/ 1827554 w 1893500"/>
                <a:gd name="connsiteY26" fmla="*/ 1407315 h 2880595"/>
                <a:gd name="connsiteX27" fmla="*/ 1833418 w 1893500"/>
                <a:gd name="connsiteY27" fmla="*/ 1431688 h 2880595"/>
                <a:gd name="connsiteX28" fmla="*/ 1865811 w 1893500"/>
                <a:gd name="connsiteY28" fmla="*/ 1580676 h 2880595"/>
                <a:gd name="connsiteX29" fmla="*/ 1872344 w 1893500"/>
                <a:gd name="connsiteY29" fmla="*/ 1626365 h 2880595"/>
                <a:gd name="connsiteX30" fmla="*/ 1887773 w 1893500"/>
                <a:gd name="connsiteY30" fmla="*/ 1755969 h 2880595"/>
                <a:gd name="connsiteX31" fmla="*/ 1891069 w 1893500"/>
                <a:gd name="connsiteY31" fmla="*/ 1825592 h 2880595"/>
                <a:gd name="connsiteX32" fmla="*/ 1893500 w 1893500"/>
                <a:gd name="connsiteY32" fmla="*/ 1934444 h 2880595"/>
                <a:gd name="connsiteX33" fmla="*/ 1888737 w 1893500"/>
                <a:gd name="connsiteY33" fmla="*/ 2028769 h 2880595"/>
                <a:gd name="connsiteX34" fmla="*/ 1881569 w 1893500"/>
                <a:gd name="connsiteY34" fmla="*/ 2124570 h 2880595"/>
                <a:gd name="connsiteX35" fmla="*/ 1868934 w 1893500"/>
                <a:gd name="connsiteY35" fmla="*/ 2207358 h 2880595"/>
                <a:gd name="connsiteX36" fmla="*/ 1850424 w 1893500"/>
                <a:gd name="connsiteY36" fmla="*/ 2313447 h 2880595"/>
                <a:gd name="connsiteX37" fmla="*/ 1834070 w 1893500"/>
                <a:gd name="connsiteY37" fmla="*/ 2377053 h 2880595"/>
                <a:gd name="connsiteX38" fmla="*/ 1800250 w 1893500"/>
                <a:gd name="connsiteY38" fmla="*/ 2498345 h 2880595"/>
                <a:gd name="connsiteX39" fmla="*/ 1783060 w 1893500"/>
                <a:gd name="connsiteY39" fmla="*/ 2545313 h 2880595"/>
                <a:gd name="connsiteX40" fmla="*/ 1731554 w 1893500"/>
                <a:gd name="connsiteY40" fmla="*/ 2677263 h 2880595"/>
                <a:gd name="connsiteX41" fmla="*/ 1712342 w 1893500"/>
                <a:gd name="connsiteY41" fmla="*/ 2717145 h 2880595"/>
                <a:gd name="connsiteX42" fmla="*/ 1645505 w 1893500"/>
                <a:gd name="connsiteY42" fmla="*/ 2847705 h 2880595"/>
                <a:gd name="connsiteX43" fmla="*/ 1625524 w 1893500"/>
                <a:gd name="connsiteY43" fmla="*/ 2880595 h 2880595"/>
                <a:gd name="connsiteX44" fmla="*/ 1239063 w 1893500"/>
                <a:gd name="connsiteY44" fmla="*/ 2823077 h 2880595"/>
                <a:gd name="connsiteX45" fmla="*/ 1004423 w 1893500"/>
                <a:gd name="connsiteY45" fmla="*/ 2510707 h 2880595"/>
                <a:gd name="connsiteX46" fmla="*/ 1003128 w 1893500"/>
                <a:gd name="connsiteY46" fmla="*/ 2510593 h 2880595"/>
                <a:gd name="connsiteX47" fmla="*/ 1010858 w 1893500"/>
                <a:gd name="connsiteY47" fmla="*/ 2498638 h 2880595"/>
                <a:gd name="connsiteX48" fmla="*/ 1014216 w 1893500"/>
                <a:gd name="connsiteY48" fmla="*/ 2492079 h 2880595"/>
                <a:gd name="connsiteX49" fmla="*/ 1027132 w 1893500"/>
                <a:gd name="connsiteY49" fmla="*/ 2470819 h 2880595"/>
                <a:gd name="connsiteX50" fmla="*/ 1059542 w 1893500"/>
                <a:gd name="connsiteY50" fmla="*/ 2403540 h 2880595"/>
                <a:gd name="connsiteX51" fmla="*/ 1066077 w 1893500"/>
                <a:gd name="connsiteY51" fmla="*/ 2390774 h 2880595"/>
                <a:gd name="connsiteX52" fmla="*/ 1067724 w 1893500"/>
                <a:gd name="connsiteY52" fmla="*/ 2386554 h 2880595"/>
                <a:gd name="connsiteX53" fmla="*/ 1076976 w 1893500"/>
                <a:gd name="connsiteY53" fmla="*/ 2367350 h 2880595"/>
                <a:gd name="connsiteX54" fmla="*/ 1103373 w 1893500"/>
                <a:gd name="connsiteY54" fmla="*/ 2295226 h 2880595"/>
                <a:gd name="connsiteX55" fmla="*/ 1109307 w 1893500"/>
                <a:gd name="connsiteY55" fmla="*/ 2280024 h 2880595"/>
                <a:gd name="connsiteX56" fmla="*/ 1110490 w 1893500"/>
                <a:gd name="connsiteY56" fmla="*/ 2275781 h 2880595"/>
                <a:gd name="connsiteX57" fmla="*/ 1116779 w 1893500"/>
                <a:gd name="connsiteY57" fmla="*/ 2258600 h 2880595"/>
                <a:gd name="connsiteX58" fmla="*/ 1134521 w 1893500"/>
                <a:gd name="connsiteY58" fmla="*/ 2189597 h 2880595"/>
                <a:gd name="connsiteX59" fmla="*/ 1140765 w 1893500"/>
                <a:gd name="connsiteY59" fmla="*/ 2167202 h 2880595"/>
                <a:gd name="connsiteX60" fmla="*/ 1141792 w 1893500"/>
                <a:gd name="connsiteY60" fmla="*/ 2161321 h 2880595"/>
                <a:gd name="connsiteX61" fmla="*/ 1145946 w 1893500"/>
                <a:gd name="connsiteY61" fmla="*/ 2145164 h 2880595"/>
                <a:gd name="connsiteX62" fmla="*/ 1155269 w 1893500"/>
                <a:gd name="connsiteY62" fmla="*/ 2084073 h 2880595"/>
                <a:gd name="connsiteX63" fmla="*/ 1160670 w 1893500"/>
                <a:gd name="connsiteY63" fmla="*/ 2053120 h 2880595"/>
                <a:gd name="connsiteX64" fmla="*/ 1161321 w 1893500"/>
                <a:gd name="connsiteY64" fmla="*/ 2044424 h 2880595"/>
                <a:gd name="connsiteX65" fmla="*/ 1163883 w 1893500"/>
                <a:gd name="connsiteY65" fmla="*/ 2027637 h 2880595"/>
                <a:gd name="connsiteX66" fmla="*/ 1166594 w 1893500"/>
                <a:gd name="connsiteY66" fmla="*/ 1973938 h 2880595"/>
                <a:gd name="connsiteX67" fmla="*/ 1169239 w 1893500"/>
                <a:gd name="connsiteY67" fmla="*/ 1938592 h 2880595"/>
                <a:gd name="connsiteX68" fmla="*/ 1168975 w 1893500"/>
                <a:gd name="connsiteY68" fmla="*/ 1926787 h 2880595"/>
                <a:gd name="connsiteX69" fmla="*/ 1169994 w 1893500"/>
                <a:gd name="connsiteY69" fmla="*/ 1906614 h 2880595"/>
                <a:gd name="connsiteX70" fmla="*/ 1167213 w 1893500"/>
                <a:gd name="connsiteY70" fmla="*/ 1847885 h 2880595"/>
                <a:gd name="connsiteX71" fmla="*/ 1166689 w 1893500"/>
                <a:gd name="connsiteY71" fmla="*/ 1824429 h 2880595"/>
                <a:gd name="connsiteX72" fmla="*/ 1165715 w 1893500"/>
                <a:gd name="connsiteY72" fmla="*/ 1816244 h 2880595"/>
                <a:gd name="connsiteX73" fmla="*/ 1164617 w 1893500"/>
                <a:gd name="connsiteY73" fmla="*/ 1793059 h 2880595"/>
                <a:gd name="connsiteX74" fmla="*/ 1154693 w 1893500"/>
                <a:gd name="connsiteY74" fmla="*/ 1723657 h 2880595"/>
                <a:gd name="connsiteX75" fmla="*/ 1153239 w 1893500"/>
                <a:gd name="connsiteY75" fmla="*/ 1711444 h 2880595"/>
                <a:gd name="connsiteX76" fmla="*/ 1152385 w 1893500"/>
                <a:gd name="connsiteY76" fmla="*/ 1707514 h 2880595"/>
                <a:gd name="connsiteX77" fmla="*/ 1148814 w 1893500"/>
                <a:gd name="connsiteY77" fmla="*/ 1682544 h 2880595"/>
                <a:gd name="connsiteX78" fmla="*/ 1129509 w 1893500"/>
                <a:gd name="connsiteY78" fmla="*/ 1602299 h 2880595"/>
                <a:gd name="connsiteX79" fmla="*/ 1129107 w 1893500"/>
                <a:gd name="connsiteY79" fmla="*/ 1600451 h 2880595"/>
                <a:gd name="connsiteX80" fmla="*/ 1128934 w 1893500"/>
                <a:gd name="connsiteY80" fmla="*/ 1599911 h 2880595"/>
                <a:gd name="connsiteX81" fmla="*/ 1123076 w 1893500"/>
                <a:gd name="connsiteY81" fmla="*/ 1575559 h 2880595"/>
                <a:gd name="connsiteX82" fmla="*/ 862499 w 1893500"/>
                <a:gd name="connsiteY82" fmla="*/ 1110745 h 2880595"/>
                <a:gd name="connsiteX83" fmla="*/ 858753 w 1893500"/>
                <a:gd name="connsiteY83" fmla="*/ 1107300 h 2880595"/>
                <a:gd name="connsiteX84" fmla="*/ 855828 w 1893500"/>
                <a:gd name="connsiteY84" fmla="*/ 1103801 h 2880595"/>
                <a:gd name="connsiteX85" fmla="*/ 772173 w 1893500"/>
                <a:gd name="connsiteY85" fmla="*/ 1021824 h 2880595"/>
                <a:gd name="connsiteX86" fmla="*/ 723165 w 1893500"/>
                <a:gd name="connsiteY86" fmla="*/ 982592 h 2880595"/>
                <a:gd name="connsiteX87" fmla="*/ 705875 w 1893500"/>
                <a:gd name="connsiteY87" fmla="*/ 966690 h 2880595"/>
                <a:gd name="connsiteX88" fmla="*/ 685839 w 1893500"/>
                <a:gd name="connsiteY88" fmla="*/ 952712 h 2880595"/>
                <a:gd name="connsiteX89" fmla="*/ 679361 w 1893500"/>
                <a:gd name="connsiteY89" fmla="*/ 947527 h 2880595"/>
                <a:gd name="connsiteX90" fmla="*/ 666264 w 1893500"/>
                <a:gd name="connsiteY90" fmla="*/ 939057 h 2880595"/>
                <a:gd name="connsiteX91" fmla="*/ 618297 w 1893500"/>
                <a:gd name="connsiteY91" fmla="*/ 905595 h 2880595"/>
                <a:gd name="connsiteX92" fmla="*/ 586084 w 1893500"/>
                <a:gd name="connsiteY92" fmla="*/ 887205 h 2880595"/>
                <a:gd name="connsiteX93" fmla="*/ 577607 w 1893500"/>
                <a:gd name="connsiteY93" fmla="*/ 881723 h 2880595"/>
                <a:gd name="connsiteX94" fmla="*/ 565926 w 1893500"/>
                <a:gd name="connsiteY94" fmla="*/ 875696 h 2880595"/>
                <a:gd name="connsiteX95" fmla="*/ 525195 w 1893500"/>
                <a:gd name="connsiteY95" fmla="*/ 852443 h 2880595"/>
                <a:gd name="connsiteX96" fmla="*/ 487984 w 1893500"/>
                <a:gd name="connsiteY96" fmla="*/ 835486 h 2880595"/>
                <a:gd name="connsiteX97" fmla="*/ 476577 w 1893500"/>
                <a:gd name="connsiteY97" fmla="*/ 829601 h 2880595"/>
                <a:gd name="connsiteX98" fmla="*/ 463967 w 1893500"/>
                <a:gd name="connsiteY98" fmla="*/ 824542 h 2880595"/>
                <a:gd name="connsiteX99" fmla="*/ 427059 w 1893500"/>
                <a:gd name="connsiteY99" fmla="*/ 807723 h 2880595"/>
                <a:gd name="connsiteX100" fmla="*/ 388849 w 1893500"/>
                <a:gd name="connsiteY100" fmla="*/ 794402 h 2880595"/>
                <a:gd name="connsiteX101" fmla="*/ 372967 w 1893500"/>
                <a:gd name="connsiteY101" fmla="*/ 788029 h 2880595"/>
                <a:gd name="connsiteX102" fmla="*/ 357184 w 1893500"/>
                <a:gd name="connsiteY102" fmla="*/ 783363 h 2880595"/>
                <a:gd name="connsiteX103" fmla="*/ 324380 w 1893500"/>
                <a:gd name="connsiteY103" fmla="*/ 771926 h 2880595"/>
                <a:gd name="connsiteX104" fmla="*/ 288574 w 1893500"/>
                <a:gd name="connsiteY104" fmla="*/ 763075 h 2880595"/>
                <a:gd name="connsiteX105" fmla="*/ 267446 w 1893500"/>
                <a:gd name="connsiteY105" fmla="*/ 756828 h 2880595"/>
                <a:gd name="connsiteX106" fmla="*/ 247110 w 1893500"/>
                <a:gd name="connsiteY106" fmla="*/ 752825 h 2880595"/>
                <a:gd name="connsiteX107" fmla="*/ 217647 w 1893500"/>
                <a:gd name="connsiteY107" fmla="*/ 745542 h 2880595"/>
                <a:gd name="connsiteX108" fmla="*/ 186317 w 1893500"/>
                <a:gd name="connsiteY108" fmla="*/ 740861 h 2880595"/>
                <a:gd name="connsiteX109" fmla="*/ 160684 w 1893500"/>
                <a:gd name="connsiteY109" fmla="*/ 735816 h 2880595"/>
                <a:gd name="connsiteX110" fmla="*/ 134804 w 1893500"/>
                <a:gd name="connsiteY110" fmla="*/ 733164 h 2880595"/>
                <a:gd name="connsiteX111" fmla="*/ 107352 w 1893500"/>
                <a:gd name="connsiteY111" fmla="*/ 729062 h 2880595"/>
                <a:gd name="connsiteX112" fmla="*/ 82569 w 1893500"/>
                <a:gd name="connsiteY112" fmla="*/ 727810 h 2880595"/>
                <a:gd name="connsiteX113" fmla="*/ 53350 w 1893500"/>
                <a:gd name="connsiteY113" fmla="*/ 724816 h 2880595"/>
                <a:gd name="connsiteX114" fmla="*/ 14991 w 1893500"/>
                <a:gd name="connsiteY114" fmla="*/ 724397 h 2880595"/>
                <a:gd name="connsiteX115" fmla="*/ 0 w 1893500"/>
                <a:gd name="connsiteY115" fmla="*/ 723640 h 2880595"/>
                <a:gd name="connsiteX116" fmla="*/ 153201 w 1893500"/>
                <a:gd name="connsiteY116" fmla="*/ 364251 h 2880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1893500" h="2880595">
                  <a:moveTo>
                    <a:pt x="9464" y="0"/>
                  </a:moveTo>
                  <a:lnTo>
                    <a:pt x="29502" y="218"/>
                  </a:lnTo>
                  <a:lnTo>
                    <a:pt x="144419" y="6021"/>
                  </a:lnTo>
                  <a:lnTo>
                    <a:pt x="222513" y="14025"/>
                  </a:lnTo>
                  <a:lnTo>
                    <a:pt x="312663" y="27495"/>
                  </a:lnTo>
                  <a:lnTo>
                    <a:pt x="403180" y="45309"/>
                  </a:lnTo>
                  <a:lnTo>
                    <a:pt x="478155" y="63843"/>
                  </a:lnTo>
                  <a:lnTo>
                    <a:pt x="580202" y="94018"/>
                  </a:lnTo>
                  <a:lnTo>
                    <a:pt x="640177" y="114927"/>
                  </a:lnTo>
                  <a:lnTo>
                    <a:pt x="751835" y="159728"/>
                  </a:lnTo>
                  <a:lnTo>
                    <a:pt x="800067" y="181707"/>
                  </a:lnTo>
                  <a:lnTo>
                    <a:pt x="915571" y="241295"/>
                  </a:lnTo>
                  <a:lnTo>
                    <a:pt x="957837" y="265425"/>
                  </a:lnTo>
                  <a:lnTo>
                    <a:pt x="1076054" y="341876"/>
                  </a:lnTo>
                  <a:lnTo>
                    <a:pt x="1118023" y="371153"/>
                  </a:lnTo>
                  <a:lnTo>
                    <a:pt x="1220110" y="452874"/>
                  </a:lnTo>
                  <a:lnTo>
                    <a:pt x="1263416" y="489270"/>
                  </a:lnTo>
                  <a:lnTo>
                    <a:pt x="1356593" y="580578"/>
                  </a:lnTo>
                  <a:lnTo>
                    <a:pt x="1393066" y="617270"/>
                  </a:lnTo>
                  <a:lnTo>
                    <a:pt x="1508444" y="755274"/>
                  </a:lnTo>
                  <a:lnTo>
                    <a:pt x="1612401" y="907790"/>
                  </a:lnTo>
                  <a:lnTo>
                    <a:pt x="1614934" y="912291"/>
                  </a:lnTo>
                  <a:lnTo>
                    <a:pt x="1700484" y="1068417"/>
                  </a:lnTo>
                  <a:lnTo>
                    <a:pt x="1704181" y="1076664"/>
                  </a:lnTo>
                  <a:lnTo>
                    <a:pt x="1772472" y="1235911"/>
                  </a:lnTo>
                  <a:lnTo>
                    <a:pt x="1776672" y="1248201"/>
                  </a:lnTo>
                  <a:lnTo>
                    <a:pt x="1827554" y="1407315"/>
                  </a:lnTo>
                  <a:lnTo>
                    <a:pt x="1833418" y="1431688"/>
                  </a:lnTo>
                  <a:lnTo>
                    <a:pt x="1865811" y="1580676"/>
                  </a:lnTo>
                  <a:lnTo>
                    <a:pt x="1872344" y="1626365"/>
                  </a:lnTo>
                  <a:lnTo>
                    <a:pt x="1887773" y="1755969"/>
                  </a:lnTo>
                  <a:lnTo>
                    <a:pt x="1891069" y="1825592"/>
                  </a:lnTo>
                  <a:lnTo>
                    <a:pt x="1893500" y="1934444"/>
                  </a:lnTo>
                  <a:lnTo>
                    <a:pt x="1888737" y="2028769"/>
                  </a:lnTo>
                  <a:lnTo>
                    <a:pt x="1881569" y="2124570"/>
                  </a:lnTo>
                  <a:lnTo>
                    <a:pt x="1868934" y="2207358"/>
                  </a:lnTo>
                  <a:lnTo>
                    <a:pt x="1850424" y="2313447"/>
                  </a:lnTo>
                  <a:lnTo>
                    <a:pt x="1834070" y="2377053"/>
                  </a:lnTo>
                  <a:lnTo>
                    <a:pt x="1800250" y="2498345"/>
                  </a:lnTo>
                  <a:lnTo>
                    <a:pt x="1783060" y="2545313"/>
                  </a:lnTo>
                  <a:lnTo>
                    <a:pt x="1731554" y="2677263"/>
                  </a:lnTo>
                  <a:lnTo>
                    <a:pt x="1712342" y="2717145"/>
                  </a:lnTo>
                  <a:lnTo>
                    <a:pt x="1645505" y="2847705"/>
                  </a:lnTo>
                  <a:lnTo>
                    <a:pt x="1625524" y="2880595"/>
                  </a:lnTo>
                  <a:lnTo>
                    <a:pt x="1239063" y="2823077"/>
                  </a:lnTo>
                  <a:lnTo>
                    <a:pt x="1004423" y="2510707"/>
                  </a:lnTo>
                  <a:lnTo>
                    <a:pt x="1003128" y="2510593"/>
                  </a:lnTo>
                  <a:lnTo>
                    <a:pt x="1010858" y="2498638"/>
                  </a:lnTo>
                  <a:lnTo>
                    <a:pt x="1014216" y="2492079"/>
                  </a:lnTo>
                  <a:lnTo>
                    <a:pt x="1027132" y="2470819"/>
                  </a:lnTo>
                  <a:lnTo>
                    <a:pt x="1059542" y="2403540"/>
                  </a:lnTo>
                  <a:lnTo>
                    <a:pt x="1066077" y="2390774"/>
                  </a:lnTo>
                  <a:lnTo>
                    <a:pt x="1067724" y="2386554"/>
                  </a:lnTo>
                  <a:lnTo>
                    <a:pt x="1076976" y="2367350"/>
                  </a:lnTo>
                  <a:lnTo>
                    <a:pt x="1103373" y="2295226"/>
                  </a:lnTo>
                  <a:lnTo>
                    <a:pt x="1109307" y="2280024"/>
                  </a:lnTo>
                  <a:lnTo>
                    <a:pt x="1110490" y="2275781"/>
                  </a:lnTo>
                  <a:lnTo>
                    <a:pt x="1116779" y="2258600"/>
                  </a:lnTo>
                  <a:lnTo>
                    <a:pt x="1134521" y="2189597"/>
                  </a:lnTo>
                  <a:lnTo>
                    <a:pt x="1140765" y="2167202"/>
                  </a:lnTo>
                  <a:lnTo>
                    <a:pt x="1141792" y="2161321"/>
                  </a:lnTo>
                  <a:lnTo>
                    <a:pt x="1145946" y="2145164"/>
                  </a:lnTo>
                  <a:lnTo>
                    <a:pt x="1155269" y="2084073"/>
                  </a:lnTo>
                  <a:lnTo>
                    <a:pt x="1160670" y="2053120"/>
                  </a:lnTo>
                  <a:lnTo>
                    <a:pt x="1161321" y="2044424"/>
                  </a:lnTo>
                  <a:lnTo>
                    <a:pt x="1163883" y="2027637"/>
                  </a:lnTo>
                  <a:lnTo>
                    <a:pt x="1166594" y="1973938"/>
                  </a:lnTo>
                  <a:lnTo>
                    <a:pt x="1169239" y="1938592"/>
                  </a:lnTo>
                  <a:lnTo>
                    <a:pt x="1168975" y="1926787"/>
                  </a:lnTo>
                  <a:lnTo>
                    <a:pt x="1169994" y="1906614"/>
                  </a:lnTo>
                  <a:lnTo>
                    <a:pt x="1167213" y="1847885"/>
                  </a:lnTo>
                  <a:lnTo>
                    <a:pt x="1166689" y="1824429"/>
                  </a:lnTo>
                  <a:lnTo>
                    <a:pt x="1165715" y="1816244"/>
                  </a:lnTo>
                  <a:lnTo>
                    <a:pt x="1164617" y="1793059"/>
                  </a:lnTo>
                  <a:lnTo>
                    <a:pt x="1154693" y="1723657"/>
                  </a:lnTo>
                  <a:lnTo>
                    <a:pt x="1153239" y="1711444"/>
                  </a:lnTo>
                  <a:lnTo>
                    <a:pt x="1152385" y="1707514"/>
                  </a:lnTo>
                  <a:lnTo>
                    <a:pt x="1148814" y="1682544"/>
                  </a:lnTo>
                  <a:lnTo>
                    <a:pt x="1129509" y="1602299"/>
                  </a:lnTo>
                  <a:lnTo>
                    <a:pt x="1129107" y="1600451"/>
                  </a:lnTo>
                  <a:lnTo>
                    <a:pt x="1128934" y="1599911"/>
                  </a:lnTo>
                  <a:lnTo>
                    <a:pt x="1123076" y="1575559"/>
                  </a:lnTo>
                  <a:cubicBezTo>
                    <a:pt x="1072170" y="1400465"/>
                    <a:pt x="981907" y="1242123"/>
                    <a:pt x="862499" y="1110745"/>
                  </a:cubicBezTo>
                  <a:lnTo>
                    <a:pt x="858753" y="1107300"/>
                  </a:lnTo>
                  <a:lnTo>
                    <a:pt x="855828" y="1103801"/>
                  </a:lnTo>
                  <a:cubicBezTo>
                    <a:pt x="829494" y="1075286"/>
                    <a:pt x="801597" y="1047915"/>
                    <a:pt x="772173" y="1021824"/>
                  </a:cubicBezTo>
                  <a:lnTo>
                    <a:pt x="723165" y="982592"/>
                  </a:lnTo>
                  <a:lnTo>
                    <a:pt x="705875" y="966690"/>
                  </a:lnTo>
                  <a:lnTo>
                    <a:pt x="685839" y="952712"/>
                  </a:lnTo>
                  <a:lnTo>
                    <a:pt x="679361" y="947527"/>
                  </a:lnTo>
                  <a:lnTo>
                    <a:pt x="666264" y="939057"/>
                  </a:lnTo>
                  <a:lnTo>
                    <a:pt x="618297" y="905595"/>
                  </a:lnTo>
                  <a:lnTo>
                    <a:pt x="586084" y="887205"/>
                  </a:lnTo>
                  <a:lnTo>
                    <a:pt x="577607" y="881723"/>
                  </a:lnTo>
                  <a:lnTo>
                    <a:pt x="565926" y="875696"/>
                  </a:lnTo>
                  <a:lnTo>
                    <a:pt x="525195" y="852443"/>
                  </a:lnTo>
                  <a:lnTo>
                    <a:pt x="487984" y="835486"/>
                  </a:lnTo>
                  <a:lnTo>
                    <a:pt x="476577" y="829601"/>
                  </a:lnTo>
                  <a:lnTo>
                    <a:pt x="463967" y="824542"/>
                  </a:lnTo>
                  <a:lnTo>
                    <a:pt x="427059" y="807723"/>
                  </a:lnTo>
                  <a:lnTo>
                    <a:pt x="388849" y="794402"/>
                  </a:lnTo>
                  <a:lnTo>
                    <a:pt x="372967" y="788029"/>
                  </a:lnTo>
                  <a:lnTo>
                    <a:pt x="357184" y="783363"/>
                  </a:lnTo>
                  <a:lnTo>
                    <a:pt x="324380" y="771926"/>
                  </a:lnTo>
                  <a:lnTo>
                    <a:pt x="288574" y="763075"/>
                  </a:lnTo>
                  <a:lnTo>
                    <a:pt x="267446" y="756828"/>
                  </a:lnTo>
                  <a:lnTo>
                    <a:pt x="247110" y="752825"/>
                  </a:lnTo>
                  <a:lnTo>
                    <a:pt x="217647" y="745542"/>
                  </a:lnTo>
                  <a:lnTo>
                    <a:pt x="186317" y="740861"/>
                  </a:lnTo>
                  <a:lnTo>
                    <a:pt x="160684" y="735816"/>
                  </a:lnTo>
                  <a:lnTo>
                    <a:pt x="134804" y="733164"/>
                  </a:lnTo>
                  <a:lnTo>
                    <a:pt x="107352" y="729062"/>
                  </a:lnTo>
                  <a:lnTo>
                    <a:pt x="82569" y="727810"/>
                  </a:lnTo>
                  <a:lnTo>
                    <a:pt x="53350" y="724816"/>
                  </a:lnTo>
                  <a:lnTo>
                    <a:pt x="14991" y="724397"/>
                  </a:lnTo>
                  <a:lnTo>
                    <a:pt x="0" y="723640"/>
                  </a:lnTo>
                  <a:lnTo>
                    <a:pt x="153201" y="364251"/>
                  </a:lnTo>
                  <a:close/>
                </a:path>
              </a:pathLst>
            </a:custGeom>
            <a:solidFill>
              <a:srgbClr val="00AF8E"/>
            </a:solidFill>
            <a:ln w="38100">
              <a:solidFill>
                <a:schemeClr val="bg2"/>
              </a:solidFill>
            </a:ln>
            <a:effectLst/>
          </p:spPr>
          <p:txBody>
            <a:bodyPr wrap="square" lIns="215762" tIns="107881" rIns="215762" bIns="107881" numCol="1" spcCol="72000" rtlCol="0" anchor="ctr">
              <a:noAutofit/>
            </a:bodyPr>
            <a:lstStyle/>
            <a:p>
              <a:pPr defTabSz="1827795" hangingPunct="1">
                <a:lnSpc>
                  <a:spcPct val="110000"/>
                </a:lnSpc>
                <a:spcBef>
                  <a:spcPct val="0"/>
                </a:spcBef>
                <a:defRPr/>
              </a:pPr>
              <a:endParaRPr lang="en-US" sz="3596" kern="1200">
                <a:solidFill>
                  <a:prstClr val="white"/>
                </a:solidFill>
                <a:latin typeface="Siemens Sans" pitchFamily="2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05" name="Rechteck 28"/>
          <p:cNvSpPr/>
          <p:nvPr>
            <p:custDataLst>
              <p:tags r:id="rId2"/>
            </p:custDataLst>
          </p:nvPr>
        </p:nvSpPr>
        <p:spPr bwMode="gray">
          <a:xfrm>
            <a:off x="16953995" y="5428749"/>
            <a:ext cx="7039608" cy="1438406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287681" tIns="0" rIns="287681" bIns="0" numCol="1" spcCol="72000" rtlCol="0" anchor="t" anchorCtr="0">
            <a:noAutofit/>
          </a:bodyPr>
          <a:lstStyle/>
          <a:p>
            <a:pPr algn="l" defTabSz="1827795" hangingPunct="1">
              <a:tabLst>
                <a:tab pos="2508789" algn="r"/>
              </a:tabLst>
              <a:defRPr/>
            </a:pPr>
            <a:r>
              <a:rPr lang="en-US" altLang="de-DE" sz="3196" b="1" kern="1200">
                <a:solidFill>
                  <a:srgbClr val="00AF8E"/>
                </a:solidFill>
                <a:latin typeface="Siemens Sans" pitchFamily="2" charset="0"/>
                <a:ea typeface="Arial Unicode MS"/>
              </a:rPr>
              <a:t>Detect </a:t>
            </a:r>
            <a:r>
              <a:rPr lang="en-US" altLang="de-DE" sz="3196" kern="1200">
                <a:solidFill>
                  <a:srgbClr val="00AF8E"/>
                </a:solidFill>
                <a:latin typeface="Siemens Sans" pitchFamily="2" charset="0"/>
                <a:ea typeface="Arial Unicode MS"/>
              </a:rPr>
              <a:t>biggest contributors of CO</a:t>
            </a:r>
            <a:r>
              <a:rPr lang="en-US" altLang="de-DE" sz="3196" kern="1200" baseline="-25000">
                <a:solidFill>
                  <a:srgbClr val="00AF8E"/>
                </a:solidFill>
                <a:latin typeface="Siemens Sans" pitchFamily="2" charset="0"/>
                <a:ea typeface="Arial Unicode MS"/>
              </a:rPr>
              <a:t>2</a:t>
            </a:r>
            <a:r>
              <a:rPr lang="en-US" altLang="de-DE" sz="3196" kern="1200">
                <a:solidFill>
                  <a:srgbClr val="00AF8E"/>
                </a:solidFill>
                <a:latin typeface="Siemens Sans" pitchFamily="2" charset="0"/>
                <a:ea typeface="Arial Unicode MS"/>
              </a:rPr>
              <a:t> emissions in the supply chain and engage suppliers in the </a:t>
            </a:r>
            <a:r>
              <a:rPr lang="en-US" altLang="de-DE" sz="2798" kern="1200">
                <a:solidFill>
                  <a:srgbClr val="00AF8E"/>
                </a:solidFill>
                <a:latin typeface="Siemens Sans" pitchFamily="2" charset="0"/>
                <a:ea typeface="Arial Unicode MS"/>
              </a:rPr>
              <a:t>CWA </a:t>
            </a:r>
            <a:r>
              <a:rPr lang="en-US" altLang="de-DE" sz="3200" kern="1200">
                <a:solidFill>
                  <a:srgbClr val="00AF8E"/>
                </a:solidFill>
                <a:latin typeface="Siemens Sans" pitchFamily="2" charset="0"/>
                <a:ea typeface="Arial Unicode MS"/>
              </a:rPr>
              <a:t>process</a:t>
            </a:r>
            <a:endParaRPr lang="en-US" altLang="de-DE" sz="2396" kern="1200">
              <a:solidFill>
                <a:srgbClr val="00AF8E"/>
              </a:solidFill>
              <a:latin typeface="Siemens Sans" pitchFamily="2" charset="0"/>
              <a:ea typeface="Arial Unicode MS"/>
              <a:cs typeface="Arial" pitchFamily="34" charset="0"/>
            </a:endParaRPr>
          </a:p>
        </p:txBody>
      </p:sp>
      <p:sp>
        <p:nvSpPr>
          <p:cNvPr id="206" name="Rechteck 28"/>
          <p:cNvSpPr/>
          <p:nvPr>
            <p:custDataLst>
              <p:tags r:id="rId3"/>
            </p:custDataLst>
          </p:nvPr>
        </p:nvSpPr>
        <p:spPr bwMode="gray">
          <a:xfrm>
            <a:off x="1108468" y="5432811"/>
            <a:ext cx="6280743" cy="1438406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287681" tIns="0" rIns="287681" bIns="0" numCol="1" spcCol="72000" rtlCol="0" anchor="t" anchorCtr="0">
            <a:noAutofit/>
          </a:bodyPr>
          <a:lstStyle/>
          <a:p>
            <a:pPr algn="r" defTabSz="1827795" hangingPunct="1">
              <a:tabLst>
                <a:tab pos="2508789" algn="r"/>
              </a:tabLst>
              <a:defRPr/>
            </a:pPr>
            <a:r>
              <a:rPr lang="en-US" altLang="de-DE" sz="3196" b="1" kern="1200">
                <a:solidFill>
                  <a:schemeClr val="tx1"/>
                </a:solidFill>
                <a:latin typeface="Siemens Sans" pitchFamily="2" charset="0"/>
                <a:ea typeface="Arial Unicode MS"/>
              </a:rPr>
              <a:t>Assess </a:t>
            </a:r>
            <a:r>
              <a:rPr lang="en-US" altLang="de-DE" sz="3196" kern="1200">
                <a:solidFill>
                  <a:schemeClr val="tx1"/>
                </a:solidFill>
                <a:latin typeface="Siemens Sans" pitchFamily="2" charset="0"/>
                <a:ea typeface="Arial Unicode MS"/>
              </a:rPr>
              <a:t>CO</a:t>
            </a:r>
            <a:r>
              <a:rPr lang="en-US" altLang="de-DE" sz="3196" kern="1200" baseline="-25000">
                <a:solidFill>
                  <a:schemeClr val="tx1"/>
                </a:solidFill>
                <a:latin typeface="Siemens Sans" pitchFamily="2" charset="0"/>
                <a:ea typeface="Arial Unicode MS"/>
              </a:rPr>
              <a:t>2 </a:t>
            </a:r>
            <a:r>
              <a:rPr lang="en-US" altLang="de-DE" sz="3196" kern="1200">
                <a:solidFill>
                  <a:schemeClr val="tx1"/>
                </a:solidFill>
                <a:latin typeface="Siemens Sans" pitchFamily="2" charset="0"/>
                <a:ea typeface="Arial Unicode MS"/>
              </a:rPr>
              <a:t>emissions per supplier/commodity based on certified data models and direct input from suppliers (re-assess)  </a:t>
            </a:r>
            <a:endParaRPr lang="en-US" altLang="de-DE" sz="2396" kern="1200">
              <a:solidFill>
                <a:schemeClr val="tx1"/>
              </a:solidFill>
              <a:latin typeface="Siemens Sans" pitchFamily="2" charset="0"/>
              <a:ea typeface="Arial Unicode MS"/>
              <a:cs typeface="Arial" pitchFamily="34" charset="0"/>
            </a:endParaRPr>
          </a:p>
        </p:txBody>
      </p:sp>
      <p:sp>
        <p:nvSpPr>
          <p:cNvPr id="25" name="Rechteck 28"/>
          <p:cNvSpPr/>
          <p:nvPr>
            <p:custDataLst>
              <p:tags r:id="rId4"/>
            </p:custDataLst>
          </p:nvPr>
        </p:nvSpPr>
        <p:spPr bwMode="gray">
          <a:xfrm>
            <a:off x="12829377" y="10640512"/>
            <a:ext cx="9412311" cy="1941826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287681" rIns="0" bIns="0" numCol="1" spcCol="72000" rtlCol="0" anchor="t" anchorCtr="0">
            <a:noAutofit/>
          </a:bodyPr>
          <a:lstStyle/>
          <a:p>
            <a:pPr algn="l" defTabSz="1827795" hangingPunct="1">
              <a:tabLst>
                <a:tab pos="2508789" algn="r"/>
              </a:tabLst>
              <a:defRPr/>
            </a:pPr>
            <a:r>
              <a:rPr lang="en-US" altLang="de-DE" sz="3196" kern="1200">
                <a:solidFill>
                  <a:srgbClr val="00FFB9"/>
                </a:solidFill>
                <a:latin typeface="Siemens Sans" pitchFamily="2" charset="0"/>
                <a:ea typeface="Arial Unicode MS"/>
              </a:rPr>
              <a:t>Approach selected suppliers via CWA asking about current emissions and planned improvements while raising awareness about possible action plans</a:t>
            </a:r>
            <a:endParaRPr lang="en-US" altLang="de-DE" sz="2396" kern="1200">
              <a:solidFill>
                <a:srgbClr val="00FFB9"/>
              </a:solidFill>
              <a:latin typeface="Siemens Sans" pitchFamily="2" charset="0"/>
              <a:ea typeface="Arial Unicode MS"/>
              <a:cs typeface="Arial" pitchFamily="34" charset="0"/>
            </a:endParaRPr>
          </a:p>
        </p:txBody>
      </p:sp>
      <p:sp>
        <p:nvSpPr>
          <p:cNvPr id="13" name="Freihandform 85">
            <a:extLst>
              <a:ext uri="{FF2B5EF4-FFF2-40B4-BE49-F238E27FC236}">
                <a16:creationId xmlns:a16="http://schemas.microsoft.com/office/drawing/2014/main" id="{BFBF49EA-24F1-411B-BEDE-CD73451C1F2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 flipH="1">
            <a:off x="15976376" y="5688032"/>
            <a:ext cx="955340" cy="238836"/>
          </a:xfrm>
          <a:custGeom>
            <a:avLst/>
            <a:gdLst>
              <a:gd name="connsiteX0" fmla="*/ 1716505 w 1716505"/>
              <a:gd name="connsiteY0" fmla="*/ 1002631 h 1002631"/>
              <a:gd name="connsiteX1" fmla="*/ 713874 w 1716505"/>
              <a:gd name="connsiteY1" fmla="*/ 0 h 1002631"/>
              <a:gd name="connsiteX2" fmla="*/ 0 w 1716505"/>
              <a:gd name="connsiteY2" fmla="*/ 0 h 1002631"/>
              <a:gd name="connsiteX0" fmla="*/ 1716505 w 1716505"/>
              <a:gd name="connsiteY0" fmla="*/ 1002631 h 1002631"/>
              <a:gd name="connsiteX1" fmla="*/ 1034716 w 1716505"/>
              <a:gd name="connsiteY1" fmla="*/ 320842 h 1002631"/>
              <a:gd name="connsiteX2" fmla="*/ 713874 w 1716505"/>
              <a:gd name="connsiteY2" fmla="*/ 0 h 1002631"/>
              <a:gd name="connsiteX3" fmla="*/ 0 w 1716505"/>
              <a:gd name="connsiteY3" fmla="*/ 0 h 1002631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0 w 1034716"/>
              <a:gd name="connsiteY2" fmla="*/ 0 h 320842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393032 w 1034716"/>
              <a:gd name="connsiteY2" fmla="*/ 0 h 320842"/>
              <a:gd name="connsiteX3" fmla="*/ 0 w 1034716"/>
              <a:gd name="connsiteY3" fmla="*/ 0 h 320842"/>
              <a:gd name="connsiteX0" fmla="*/ 641684 w 641684"/>
              <a:gd name="connsiteY0" fmla="*/ 320842 h 320842"/>
              <a:gd name="connsiteX1" fmla="*/ 320842 w 641684"/>
              <a:gd name="connsiteY1" fmla="*/ 0 h 320842"/>
              <a:gd name="connsiteX2" fmla="*/ 0 w 641684"/>
              <a:gd name="connsiteY2" fmla="*/ 0 h 32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684" h="320842">
                <a:moveTo>
                  <a:pt x="641684" y="320842"/>
                </a:moveTo>
                <a:lnTo>
                  <a:pt x="320842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9999A9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defTabSz="1827795" hangingPunct="1">
              <a:defRPr/>
            </a:pPr>
            <a:endParaRPr lang="en-US" sz="3596" kern="1200">
              <a:solidFill>
                <a:prstClr val="white"/>
              </a:solidFill>
              <a:latin typeface="Siemens Sans" pitchFamily="2" charset="0"/>
              <a:ea typeface="Arial Unicode MS"/>
            </a:endParaRPr>
          </a:p>
        </p:txBody>
      </p:sp>
      <p:sp>
        <p:nvSpPr>
          <p:cNvPr id="14" name="Freihandform 97">
            <a:extLst>
              <a:ext uri="{FF2B5EF4-FFF2-40B4-BE49-F238E27FC236}">
                <a16:creationId xmlns:a16="http://schemas.microsoft.com/office/drawing/2014/main" id="{E87F7C87-A541-4722-84F1-998063E65C3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366941" y="5688035"/>
            <a:ext cx="965707" cy="241426"/>
          </a:xfrm>
          <a:custGeom>
            <a:avLst/>
            <a:gdLst>
              <a:gd name="connsiteX0" fmla="*/ 1716505 w 1716505"/>
              <a:gd name="connsiteY0" fmla="*/ 1002631 h 1002631"/>
              <a:gd name="connsiteX1" fmla="*/ 713874 w 1716505"/>
              <a:gd name="connsiteY1" fmla="*/ 0 h 1002631"/>
              <a:gd name="connsiteX2" fmla="*/ 0 w 1716505"/>
              <a:gd name="connsiteY2" fmla="*/ 0 h 1002631"/>
              <a:gd name="connsiteX0" fmla="*/ 1716505 w 1716505"/>
              <a:gd name="connsiteY0" fmla="*/ 1002631 h 1002631"/>
              <a:gd name="connsiteX1" fmla="*/ 1034716 w 1716505"/>
              <a:gd name="connsiteY1" fmla="*/ 320842 h 1002631"/>
              <a:gd name="connsiteX2" fmla="*/ 713874 w 1716505"/>
              <a:gd name="connsiteY2" fmla="*/ 0 h 1002631"/>
              <a:gd name="connsiteX3" fmla="*/ 0 w 1716505"/>
              <a:gd name="connsiteY3" fmla="*/ 0 h 1002631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0 w 1034716"/>
              <a:gd name="connsiteY2" fmla="*/ 0 h 320842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393032 w 1034716"/>
              <a:gd name="connsiteY2" fmla="*/ 0 h 320842"/>
              <a:gd name="connsiteX3" fmla="*/ 0 w 1034716"/>
              <a:gd name="connsiteY3" fmla="*/ 0 h 320842"/>
              <a:gd name="connsiteX0" fmla="*/ 641684 w 641684"/>
              <a:gd name="connsiteY0" fmla="*/ 320842 h 320842"/>
              <a:gd name="connsiteX1" fmla="*/ 320842 w 641684"/>
              <a:gd name="connsiteY1" fmla="*/ 0 h 320842"/>
              <a:gd name="connsiteX2" fmla="*/ 0 w 641684"/>
              <a:gd name="connsiteY2" fmla="*/ 0 h 32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684" h="320842">
                <a:moveTo>
                  <a:pt x="641684" y="320842"/>
                </a:moveTo>
                <a:lnTo>
                  <a:pt x="320842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9999A9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defTabSz="1827795" hangingPunct="1">
              <a:defRPr/>
            </a:pPr>
            <a:endParaRPr lang="en-US" sz="3596" kern="1200">
              <a:solidFill>
                <a:prstClr val="white"/>
              </a:solidFill>
              <a:latin typeface="Siemens Sans" pitchFamily="2" charset="0"/>
              <a:ea typeface="Arial Unicode MS"/>
            </a:endParaRPr>
          </a:p>
        </p:txBody>
      </p:sp>
      <p:sp>
        <p:nvSpPr>
          <p:cNvPr id="16" name="Rectangle 35">
            <a:extLst>
              <a:ext uri="{FF2B5EF4-FFF2-40B4-BE49-F238E27FC236}">
                <a16:creationId xmlns:a16="http://schemas.microsoft.com/office/drawing/2014/main" id="{228C675A-EE97-4EA0-A329-E553B60174D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7677293">
            <a:off x="9294098" y="3755966"/>
            <a:ext cx="5903888" cy="5903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spcFirstLastPara="1" wrap="none" lIns="0" tIns="0" rIns="0" bIns="0" numCol="1">
            <a:prstTxWarp prst="textArchUp">
              <a:avLst>
                <a:gd name="adj" fmla="val 10792046"/>
              </a:avLst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1827795" hangingPunct="1">
              <a:spcBef>
                <a:spcPts val="0"/>
              </a:spcBef>
              <a:defRPr/>
            </a:pPr>
            <a:r>
              <a:rPr lang="en-US" sz="5598" b="1">
                <a:solidFill>
                  <a:prstClr val="white"/>
                </a:solidFill>
                <a:latin typeface="Siemens Sans" pitchFamily="2" charset="0"/>
              </a:rPr>
              <a:t>Assess</a:t>
            </a:r>
          </a:p>
        </p:txBody>
      </p:sp>
      <p:sp>
        <p:nvSpPr>
          <p:cNvPr id="17" name="Rectangle 35">
            <a:extLst>
              <a:ext uri="{FF2B5EF4-FFF2-40B4-BE49-F238E27FC236}">
                <a16:creationId xmlns:a16="http://schemas.microsoft.com/office/drawing/2014/main" id="{8F256B97-6B26-4184-B5E7-BEE80B6B58B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136624" y="4144709"/>
            <a:ext cx="5904662" cy="590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spcFirstLastPara="1" wrap="none" lIns="0" tIns="0" rIns="0" bIns="0" numCol="1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1827795" hangingPunct="1">
              <a:spcBef>
                <a:spcPts val="0"/>
              </a:spcBef>
              <a:defRPr/>
            </a:pPr>
            <a:r>
              <a:rPr lang="en-US" sz="5598" b="1">
                <a:solidFill>
                  <a:prstClr val="white"/>
                </a:solidFill>
                <a:latin typeface="Siemens Sans" pitchFamily="2" charset="0"/>
              </a:rPr>
              <a:t>Develop</a:t>
            </a:r>
          </a:p>
        </p:txBody>
      </p:sp>
      <p:sp>
        <p:nvSpPr>
          <p:cNvPr id="20" name="Rectangle 35">
            <a:extLst>
              <a:ext uri="{FF2B5EF4-FFF2-40B4-BE49-F238E27FC236}">
                <a16:creationId xmlns:a16="http://schemas.microsoft.com/office/drawing/2014/main" id="{F673E969-4AC8-4674-B0C6-8EE5D23D0A9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3981857">
            <a:off x="9857200" y="4185647"/>
            <a:ext cx="5434730" cy="5150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spcFirstLastPara="1" wrap="none" lIns="0" tIns="0" rIns="0" bIns="0" numCol="1">
            <a:prstTxWarp prst="textArchUp">
              <a:avLst>
                <a:gd name="adj" fmla="val 10792046"/>
              </a:avLst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1827795" hangingPunct="1">
              <a:spcBef>
                <a:spcPts val="0"/>
              </a:spcBef>
              <a:defRPr/>
            </a:pPr>
            <a:r>
              <a:rPr lang="en-US" sz="5598" b="1">
                <a:solidFill>
                  <a:prstClr val="white"/>
                </a:solidFill>
                <a:latin typeface="Siemens Sans" pitchFamily="2" charset="0"/>
              </a:rPr>
              <a:t>Detect</a:t>
            </a:r>
          </a:p>
        </p:txBody>
      </p:sp>
      <p:sp>
        <p:nvSpPr>
          <p:cNvPr id="5" name="Freihandform 97">
            <a:extLst>
              <a:ext uri="{FF2B5EF4-FFF2-40B4-BE49-F238E27FC236}">
                <a16:creationId xmlns:a16="http://schemas.microsoft.com/office/drawing/2014/main" id="{3C145552-A5ED-BC98-EC48-9DCB49482134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 rot="14094080">
            <a:off x="11965458" y="11021766"/>
            <a:ext cx="901239" cy="298823"/>
          </a:xfrm>
          <a:custGeom>
            <a:avLst/>
            <a:gdLst>
              <a:gd name="connsiteX0" fmla="*/ 1716505 w 1716505"/>
              <a:gd name="connsiteY0" fmla="*/ 1002631 h 1002631"/>
              <a:gd name="connsiteX1" fmla="*/ 713874 w 1716505"/>
              <a:gd name="connsiteY1" fmla="*/ 0 h 1002631"/>
              <a:gd name="connsiteX2" fmla="*/ 0 w 1716505"/>
              <a:gd name="connsiteY2" fmla="*/ 0 h 1002631"/>
              <a:gd name="connsiteX0" fmla="*/ 1716505 w 1716505"/>
              <a:gd name="connsiteY0" fmla="*/ 1002631 h 1002631"/>
              <a:gd name="connsiteX1" fmla="*/ 1034716 w 1716505"/>
              <a:gd name="connsiteY1" fmla="*/ 320842 h 1002631"/>
              <a:gd name="connsiteX2" fmla="*/ 713874 w 1716505"/>
              <a:gd name="connsiteY2" fmla="*/ 0 h 1002631"/>
              <a:gd name="connsiteX3" fmla="*/ 0 w 1716505"/>
              <a:gd name="connsiteY3" fmla="*/ 0 h 1002631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0 w 1034716"/>
              <a:gd name="connsiteY2" fmla="*/ 0 h 320842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393032 w 1034716"/>
              <a:gd name="connsiteY2" fmla="*/ 0 h 320842"/>
              <a:gd name="connsiteX3" fmla="*/ 0 w 1034716"/>
              <a:gd name="connsiteY3" fmla="*/ 0 h 320842"/>
              <a:gd name="connsiteX0" fmla="*/ 641684 w 641684"/>
              <a:gd name="connsiteY0" fmla="*/ 320842 h 320842"/>
              <a:gd name="connsiteX1" fmla="*/ 320842 w 641684"/>
              <a:gd name="connsiteY1" fmla="*/ 0 h 320842"/>
              <a:gd name="connsiteX2" fmla="*/ 0 w 641684"/>
              <a:gd name="connsiteY2" fmla="*/ 0 h 32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684" h="320842">
                <a:moveTo>
                  <a:pt x="641684" y="320842"/>
                </a:moveTo>
                <a:lnTo>
                  <a:pt x="320842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9999A9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defTabSz="1827795" hangingPunct="1">
              <a:defRPr/>
            </a:pPr>
            <a:endParaRPr lang="en-US" sz="3596" kern="1200">
              <a:solidFill>
                <a:prstClr val="white"/>
              </a:solidFill>
              <a:latin typeface="Siemens Sans" pitchFamily="2" charset="0"/>
              <a:ea typeface="Arial Unicode M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025F85-9ACF-2C29-3DC7-81756F317D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828709" hangingPunct="1"/>
            <a:r>
              <a:rPr lang="en-US" kern="1200">
                <a:solidFill>
                  <a:prstClr val="white"/>
                </a:solidFill>
                <a:latin typeface="Siemens Sans"/>
              </a:rPr>
              <a:t>Page </a:t>
            </a:r>
            <a:fld id="{15EBE321-CBB1-4E91-BD14-37C8D44326FB}" type="slidenum">
              <a:rPr lang="en-US" kern="1200">
                <a:solidFill>
                  <a:prstClr val="white"/>
                </a:solidFill>
                <a:latin typeface="Siemens Sans"/>
              </a:rPr>
              <a:pPr defTabSz="1828709" hangingPunct="1"/>
              <a:t>9</a:t>
            </a:fld>
            <a:endParaRPr lang="en-US" kern="1200">
              <a:solidFill>
                <a:prstClr val="white"/>
              </a:solidFill>
              <a:latin typeface="Siemens Sans"/>
            </a:endParaRPr>
          </a:p>
        </p:txBody>
      </p:sp>
    </p:spTree>
    <p:extLst>
      <p:ext uri="{BB962C8B-B14F-4D97-AF65-F5344CB8AC3E}">
        <p14:creationId xmlns:p14="http://schemas.microsoft.com/office/powerpoint/2010/main" val="239655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25" grpId="0"/>
      <p:bldP spid="13" grpId="0" animBg="1"/>
      <p:bldP spid="14" grpId="0" animBg="1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7Yuws9qvFAgpdHOUpza9gEAAAAAAADAAAAAAADAAAAAwADAAAAAAD///////8DAAEA////////BQAAAAMAEAALjo64gT8fwEyMAB0ztwepXgQAAAABAAMAAAACAAMAAAAEAAQAAQD///////8FAAAABAAQAAuF3b+nOsVnQLTetrGLvdd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rti7Cz2q8UCCl0c5SnNr2ANEYXRhABsAAAAETGlua2VkU2hhcGVEYXRhAAUAAAAAAAJOYW1lABkAAABMaW5rZWRTaGFwZXNEYXRhUHJvcGVydHkAEFZlcnNpb24AAQAAAAlMYXN0V3JpdGUAPO6JOJUBAAAAAQD/////gwCDAAAABV9pZAAQAAAABI6OuIE/H8BMjAAdM7cHqV4DRGF0YQAbAAAABExpbmtlZFNoYXBlRGF0YQAFAAAAAAACTmFtZQAZAAAATGlua2VkU2hhcGVzRGF0YVByb3BlcnR5ABBWZXJzaW9uAAAAAAAJTGFzdFdyaXRlADruiTiVAQAAAAIA/////8YAxgAAAAVfaWQAEAAAAASF3b+nOsVnQLTetrGLvdd5A0RhdGEAUwAAAAhQcmVzZW50YXRpb25TY2FubmVkRm9yTGlua2VkU2hhcGVzAAACTnVtYmVyRm9ybWF0U2VwYXJhdG9yTW9kZQAKAAAAQXV0b21hdGljAAACTmFtZQAkAAAATGlua2VkU2hhcGVQcmVzZW50YXRpb25TZXR0aW5nc0RhdGEAEFZlcnNpb24AAAAAAAlMYXN0V3JpdGUARe6JOJ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E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EEAAAAAAAFAAAAAwAFAAAAAQAFAAAAAAD///////8DAAEBAwAAAAMA////////GgAGTGlua2VkU2hhcGVzRGF0YVByb3BlcnR5XzAEAAAAAQAFAAAABAAFAAAAAgAEAAEBAwAAAAQA////////JQAGTGlua2VkU2hhcGVQcmVzZW50YXRpb25TZXR0aW5nc0RhdGFfMAQ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60071184366008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ph9NzD2oNJqWwOpJ8mSb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ph9NzD2oNJqWwOpJ8mSbUDRGF0YQAWAAAAAlBlcnNvbmFsSWQAAQAAAAAAAk5hbWUACwAAAFBlcnNvbmFsSWQAEFZlcnNpb24AAAAAAAlMYXN0V3JpdGUAoTLA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369934124"/>
  <p:tag name="EMPOWERCHARTSPROPERTIES_A_LENGTH" val="24576"/>
  <p:tag name="RUNTIME_ID" val="ca53490b-63dd-4a22-894b-b9b4216d260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WJ3zaxaVJKtRYqR4ciIw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WJ3zaxaVJKtRYqR4ciIwgDRGF0YQAWAAAAAlBlcnNvbmFsSWQAAQAAAAAAAk5hbWUACwAAAFBlcnNvbmFsSWQAEFZlcnNpb24AAAAAAAlMYXN0V3JpdGUAby/A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361827713"/>
  <p:tag name="EMPOWERCHARTSPROPERTIES_A_LENGTH" val="24576"/>
  <p:tag name="RUNTIME_ID" val="1b8a3891-1628-481c-aa84-5348fc55276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j3Gj1A/L5LnEWNm4y2+sM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j3Gj1A/L5LnEWNm4y2+sMDRGF0YQAWAAAAAlBlcnNvbmFsSWQAAQAAAAAAAk5hbWUACwAAAFBlcnNvbmFsSWQAEFZlcnNpb24AAAAAAAlMYXN0V3JpdGUAREzA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435403539"/>
  <p:tag name="EMPOWERCHARTSPROPERTIES_A_LENGTH" val="24576"/>
  <p:tag name="RUNTIME_ID" val="7db19861-f9a7-4afd-b5df-da308cf987b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MdEMegVPJCgYBNA9J8EU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MdEMegVPJCgYBNA9J8EUEDRGF0YQAWAAAAAlBlcnNvbmFsSWQAAQAAAAAAAk5hbWUACwAAAFBlcnNvbmFsSWQAEFZlcnNpb24AAAAAAAlMYXN0V3JpdGUAi0/A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443876953"/>
  <p:tag name="EMPOWERCHARTSPROPERTIES_A_LENGTH" val="24576"/>
  <p:tag name="RUNTIME_ID" val="cc7c2835-367d-4314-b905-36e73bb03b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rdqd2Os+pGvF8SMfiAyL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rdqd2Os+pGvF8SMfiAyLUDRGF0YQAWAAAAAlBlcnNvbmFsSWQAAQAAAAAAAk5hbWUACwAAAFBlcnNvbmFsSWQAEFZlcnNpb24AAAAAAAlMYXN0V3JpdGUAaEzA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435873409"/>
  <p:tag name="EMPOWERCHARTSPROPERTIES_A_LENGTH" val="24576"/>
  <p:tag name="RUNTIME_ID" val="06cf3738-0574-4a5c-9c92-3b4eeb5191a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YAlr2YoyFAqLhWYKoW5r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YAlr2YoyFAqLhWYKoW5r8DRGF0YQAWAAAAAlBlcnNvbmFsSWQAAQAAAAAAAk5hbWUACwAAAFBlcnNvbmFsSWQAEFZlcnNpb24AAAAAAAlMYXN0V3JpdGUA24syTZ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63537131344661"/>
  <p:tag name="EMPOWERCHARTSPROPERTIES_A_LENGTH" val="24576"/>
  <p:tag name="RUNTIME_ID" val="10ac32b2-43e2-4892-adfb-97ef437d82d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jI4faq7OZCukuu5r8onu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jI4faq7OZCukuu5r8onuMDRGF0YQAWAAAAAlBlcnNvbmFsSWQAAQAAAAAAAk5hbWUACwAAAFBlcnNvbmFsSWQAEFZlcnNpb24AAAAAAAlMYXN0V3JpdGUARe4vTZ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63535417183058"/>
  <p:tag name="EMPOWERCHARTSPROPERTIES_A_LENGTH" val="24576"/>
  <p:tag name="RUNTIME_ID" val="2180f31a-38f6-49d0-a4b0-8394e6ba516f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FDRi+/PpxLkPeqirwH3Bs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DRi+/PpxLkPeqirwH3BsDRGF0YQAWAAAAAlBlcnNvbmFsSWQAAQAAAAAAAk5hbWUACwAAAFBlcnNvbmFsSWQAEFZlcnNpb24AAAAAAAlMYXN0V3JpdGUAX+4vTZ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63535417453052"/>
  <p:tag name="EMPOWERCHARTSPROPERTIES_A_LENGTH" val="24576"/>
  <p:tag name="RUNTIME_ID" val="3e674915-c7b6-43b8-8743-0f1563c066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3kqmiq0QRBh3kycoA09qg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3kqmiq0QRBh3kycoA09qgDRGF0YQAWAAAAAlBlcnNvbmFsSWQAAQAAAAAAAk5hbWUACwAAAFBlcnNvbmFsSWQAEFZlcnNpb24AAAAAAAlMYXN0V3JpdGUAyAQxTZ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63536130275541"/>
  <p:tag name="EMPOWERCHARTSPROPERTIES_A_LENGTH" val="24576"/>
  <p:tag name="RUNTIME_ID" val="bc5552f1-94de-4726-9423-f61e90db2ca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xnXx0DA2ZVAldYRUk5RquIEAAAAAAADAAAAAAADAAAAAwADAAAAAAADAAAABAADAAAAAAADAAAABAADAAAAAAD///////8DAAAAAAD///////8DAAEA////////BQAAAAMAEAAL1O5IksoPdUasvoLE/P6A6AQAAAABAAMAAAACAAMAAAAEAAQAAwD///////8FAAAABAAQAAuN8/W7VB6jRY6Pf/i/w1De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dfHQMDZlUCV1hFSTlGq4gREYXRhAAUAAAAAAk5hbWUADQAAAExpbmtEYXRhTGlzdAAQVmVyc2lvbgAAAAAACUxhc3RXcml0ZQC3R3U/lwEAAAABAP////9hAGEAAAAFX2lkABAAAAAE1O5IksoPdUasvoLE/P6A6AREYXRhAAUAAAAAAk5hbWUADQAAAExpbmtEYXRhTGlzdAAQVmVyc2lvbgABAAAACUxhc3RXcml0ZQC3R3U/lwEAAAACAP////9wAHAAAAAFX2lkABAAAAAEjfP1u1Qeo0WOj3/4v8NQ3gNEYXRhABYAAAACUGVyc29uYWxJZAABAAAAAAACTmFtZQALAAAAUGVyc29uYWxJZAAQVmVyc2lvbgAAAAAACUxhc3RXcml0ZQDSR3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AEAAAAAAAFAAAAAAAFAAAAAwAFAAAAAAD///////8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2105309"/>
  <p:tag name="EMPOWERCHARTSPROPERTIES_B_LENGTH" val="24576"/>
  <p:tag name="DOWN_MIGRATION_INITIAL_LAYOUT_REQUIRED" val="9.2.99"/>
  <p:tag name="RUNTIME_ID" val="24772b4c-0823-4149-bc20-cb4527d858d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137d839-c4a7-4bdb-9d6a-39c07c6102f3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wgsAAAAAAAAAAAAAIAD///////////////8AAAD////////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7wxaEemIplNm2I4Qbcx6HoEAAAAAAADAAAAAAADAAAAAwADAAAAAAADAAAAAwADAAUA////////BQAAAAMAEAALfq6dkw8ge0afLwRh6wS9FwQAAAABAAMAAAACAAMAAAAEAAMAAAACAAMAAAAEAAMAAAAAAAMAAAAEAAMAAAAAAP///////wMAAAAAAP///////wQAAwD///////8FAAAABAAQAAvmRE3BJhPWQqWeOTJ09ydf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DFoR6YimU2bYjhBtzHoegREYXRhAAUAAAAAAk5hbWUADQAAAExpbmtEYXRhTGlzdAAQVmVyc2lvbgABAAAACUxhc3RXcml0ZQACSHU/lwEAAAABAP////9hAGEAAAAFX2lkABAAAAAEfq6dkw8ge0afLwRh6wS9FwREYXRhAAUAAAAAAk5hbWUADQAAAExpbmtEYXRhTGlzdAAQVmVyc2lvbgAAAAAACUxhc3RXcml0ZQACSHU/lwEAAAACAP////9wAHAAAAAFX2lkABAAAAAE5kRNwSYT1kKlnjkydPcnXwNEYXRhABYAAAACUGVyc29uYWxJZAABAAAAAAACTmFtZQALAAAAUGVyc29uYWxJZAAQVmVyc2lvbgAAAAAACUxhc3RXcml0ZQDmxz9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AFAAAABAADAAUBAwAAAAMA////////DgAGTGlua0RhdGFMaXN0XzAEAAAAAQAFAAAAAAAFAAAAAgAFAAAAAAAFAAAAAgAFAAAAAAAFAAAABAAFAAAAAAD///////8FAAAAAAD///////8EAAMBAwAAAAQA////////DAAGUGVyc29uYWxJZF8wBAAAAAIABQAAAAIABQAAAAEABQAAAAI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2599455"/>
  <p:tag name="EMPOWERCHARTSPROPERTIES_B_LENGTH" val="24576"/>
  <p:tag name="DOWN_MIGRATION_INITIAL_LAYOUT_REQUIRED" val="9.2.9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ebb6e84-1d47-4fec-8225-84242225618f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qgsAAAAAAAAAAAAAIAD///////////////8AAAD///////////////8DAAAAAgD///////8DAAAAAgD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6UjPpSyNutAnlpMMyLnU3YEAAAAAAADAAAAAAADAAAAAwADAAAAAAADAAAAAwADAAAAAAADAAAAAwADAAAAAAADAAAAAwADAAcA////////BQAAAAMAEAALZTJo68bg9U+kIDxMJPHkSQQAAAABAAMAAAACAAMAAAAEAAMAAAACAP///////wMAAAACAP///////wMAAAACAP///////wMAAAAAAP///////wMAAAAAAP///////wMAAAAAAP///////wQAAQD///////8FAAAABAAQAAsJTvH3yfz+QaA2/nZaner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SM+lLI260CeWkwzIudTdgREYXRhAAUAAAAAAk5hbWUADQAAAExpbmtEYXRhTGlzdAAQVmVyc2lvbgAAAAAACUxhc3RXcml0ZQA2SHU/lwEAAAABAP////9wAHAAAAAFX2lkABAAAAAEZTJo68bg9U+kIDxMJPHkSQNEYXRhABYAAAACUGVyc29uYWxJZAABAAAAAAACTmFtZQALAAAAUGVyc29uYWxJZAAQVmVyc2lvbgAAAAAACUxhc3RXcml0ZQAgyD9NlQEAAAACAP////9hAGEAAAAFX2lkABAAAAAECU7x98n8/kGgNv52Wp3qwQREYXRhAAUAAAAAAk5hbWUADQAAAExpbmtEYXRhTGlzdAAQVmVyc2lvbgABAAAACUxhc3RXcml0ZQA2SH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yCwAAAAAAAAAAAAAgAf///////////////wAAAP///////////////wUAAAACAP///////wUAAAACAP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BAAFAAAAAAAFAAAAAwAFAAAAAAAFAAAAAwAFAAAAAAAFAAAAAwADAAcBAwAAAAMA////////DAAGUGVyc29uYWxJZF8wBAAAAAEABQAAAAQABQAAAAEABQAAAAIA////////BQAAAAIA////////BQAAAAIA////////BQAAAAAA////////BQAAAAAA////////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3058466"/>
  <p:tag name="EMPOWERCHARTSPROPERTIES_B_LENGTH" val="24576"/>
  <p:tag name="DOWN_MIGRATION_INITIAL_LAYOUT_REQUIRED" val="9.2.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adafcfe-8406-47fa-a7c8-7057492647a1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x3C5AmmrpxGvU7+hIpQSjMEAAAAAAADAAAAAAADAAAAAwADAAAAAAADAAAAAwADAAIA////////BQAAAAMAEAALM6EqDef8GEKlTJbrd3MEPQQAAAABAAMAAAACAAMAAAAEAAMAAAACAAMAAAAEAAQABAD///////8FAAAABAAQAAu92icZHEdvQ4D+XMLsipJNBAAAAAIAAwAAAAMAAwAAAAEAAwAAAAM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cLkCaaunEa9Tv6EilBKMwREYXRhAAUAAAAAAk5hbWUADQAAAExpbmtEYXRhTGlzdAAQVmVyc2lvbgABAAAACUxhc3RXcml0ZQBnSHU/lwEAAAABAP////9hAGEAAAAFX2lkABAAAAAEM6EqDef8GEKlTJbrd3MEPQREYXRhAAUAAAAAAk5hbWUADQAAAExpbmtEYXRhTGlzdAAQVmVyc2lvbgAAAAAACUxhc3RXcml0ZQBnSHU/lwEAAAACAP////9wAHAAAAAFX2lkABAAAAAEvdonGRxHb0OA/lzC7IqSTQNEYXRhABYAAAACUGVyc29uYWxJZAABAAAAAAACTmFtZQALAAAAUGVyc29uYWxJZAAQVmVyc2lvbgAAAAAACUxhc3RXcml0ZQBJyD9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AFAAAABAADAAIBAwAAAAMA////////DgAGTGlua0RhdGFMaXN0XzAEAAAAAQAFAAAAAAAFAAAAAg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3591917"/>
  <p:tag name="EMPOWERCHARTSPROPERTIES_B_LENGTH" val="24576"/>
  <p:tag name="DOWN_MIGRATION_INITIAL_LAYOUT_REQUIRED" val="9.2.9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bda98a6-f016-4ed7-94d5-b2d6e4ac1e4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8sSCVdWg9IhWqdy2m5VV8EAAAAAAADAAAAAAADAAAAAwADAAAAAAD///////8DAAAAAAD///////8DAAEA////////BQAAAAMAEAALcTRxaapRskClB8IhOVHxsQQAAAABAAMAAAACAAMAAAAEAAQAAQD///////8FAAAABAAQAAv9ufipXOIYQa5gENU8S8G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yxIJV1aD0iFap3LablVXwREYXRhAAUAAAAAAk5hbWUADQAAAExpbmtEYXRhTGlzdAAQVmVyc2lvbgABAAAACUxhc3RXcml0ZQCdSHU/lwEAAAABAP////9wAHAAAAAFX2lkABAAAAAEcTRxaapRskClB8IhOVHxsQNEYXRhABYAAAACUGVyc29uYWxJZAABAAAAAAACTmFtZQALAAAAUGVyc29uYWxJZAAQVmVyc2lvbgAAAAAACUxhc3RXcml0ZQBsyD9NlQEAAAACAP////9hAGEAAAAFX2lkABAAAAAE/bn4qVziGEGuYBDVPEvBgwREYXRhAAUAAAAAAk5hbWUADQAAAExpbmtEYXRhTGlzdAAQVmVyc2lvbgAAAAAACUxhc3RXcml0ZQCdSH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E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BAAFAAAAAwAFAAAAAAD///////8FAAAAAAD///////8DAAEBAwAAAAMA////////DAAGUGVyc29uYWxJZF8wBAAAAAEABQAAAAIABQAAAAEABAABAQMAAAAEAP///////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4076554"/>
  <p:tag name="EMPOWERCHARTSPROPERTIES_B_LENGTH" val="24576"/>
  <p:tag name="DOWN_MIGRATION_INITIAL_LAYOUT_REQUIRED" val="9.2.9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a637955-7235-4a65-9a2e-87f53d101655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4PhBY55YRHrYPqOf9+5ZcEAAAAAAADAAAAAAADAAAAAwADAAAAAAADAAAABAADAAEA////////BQAAAAMAEAALG0Itkeem7kOdl13QpFhcegQAAAABAAMAAAACAAMAAAAEAAQAAgD///////8FAAAABAAQAAubOsmzt1AmR65rsjX+LBd6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g+EFjnlhEetg+o5/37llwREYXRhAAUAAAAAAk5hbWUADQAAAExpbmtEYXRhTGlzdAAQVmVyc2lvbgAAAAAACUxhc3RXcml0ZQDWSHU/lwEAAAABAP////9wAHAAAAAFX2lkABAAAAAEG0Itkeem7kOdl13QpFhcegNEYXRhABYAAAACUGVyc29uYWxJZAABAAAAAAACTmFtZQALAAAAUGVyc29uYWxJZAAQVmVyc2lvbgAAAAAACUxhc3RXcml0ZQCJyD9NlQEAAAACAP////9hAGEAAAAFX2lkABAAAAAEmzrJs7dQJkeua7I1/iwXegREYXRhAAUAAAAAAk5hbWUADQAAAExpbmtEYXRhTGlzdAAQVmVyc2lvbgABAAAACUxhc3RXcml0ZQDWSH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BAAFAAAAAAAFAAAABAADAAEBAwAAAAMA////////DAAGUGVyc29uYWxJZF8wBAAAAAEABQAAAAQABQAAAAEABAACAQMAAAAEAP///////w4ABkxpbmtEYXRhTGlzdF8xBAAAAAIABQAAAAIABQAAAAM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4643065"/>
  <p:tag name="EMPOWERCHARTSPROPERTIES_B_LENGTH" val="24576"/>
  <p:tag name="DOWN_MIGRATION_INITIAL_LAYOUT_REQUIRED" val="9.2.9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81e1bf2-cf83-4989-b718-b9f5730d6329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7hci4B+tZOkQnAPjz+Y8QEAAAAAAADAAAAAAADAAAAAwADAAMA////////BQAAAAMAEAALU5IcNpzH+06X3kGvWp3VgAQAAAABAAMAAAACAAMAAAAEAAMAAAAAAAMAAAAEAAMAAAAAAAMAAAAEAAQAAwD///////8FAAAABAAQAAu61EjMDLoYRLC3kxTZdXBJ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vuFyLgH61k6RCcA+PP5jxANEYXRhABYAAAACUGVyc29uYWxJZAABAAAAAAACTmFtZQALAAAAUGVyc29uYWxJZAAQVmVyc2lvbgAAAAAACUxhc3RXcml0ZQCvyD9NlQEAAAABAP////9hAGEAAAAFX2lkABAAAAAEU5IcNpzH+06X3kGvWp3VgAREYXRhAAUAAAAAAk5hbWUADQAAAExpbmtEYXRhTGlzdAAQVmVyc2lvbgAAAAAACUxhc3RXcml0ZQABSXU/lwEAAAACAP////9hAGEAAAAFX2lkABAAAAAEutRIzAy6GESwt5MU2XVwSQREYXRhAAUAAAAAAk5hbWUADQAAAExpbmtEYXRhTGlzdAAQVmVyc2lvbgABAAAACUxhc3RXcml0ZQAMSX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QABQAAAAEAAwADAQMAAAADAP///////w4ABkxpbmtEYXRhTGlzdF8wBAAAAAEABQAAAAAABQAAAAQABQAAAAAABQAAAAQABQAAAAAABQAAAAQABAADAQMAAAAEAP///////w4ABkxpbmtEYXRhTGlzdF8xBAAAAAIABQAAAAMABQAAAAI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5393257"/>
  <p:tag name="EMPOWERCHARTSPROPERTIES_B_LENGTH" val="24576"/>
  <p:tag name="DOWN_MIGRATION_INITIAL_LAYOUT_REQUIRED" val="9.2.9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a766166-ccef-47ef-9c6f-9459ba908333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xN3LjqCOBZDlpJKnMV/JxEEAAAAAAADAAAAAAADAAAAAwADAAAAAAD///////8DAAEA////////BQAAAAMAEAALFIE9fa8bm0KB7Jo+v801QwQAAAABAAMAAAACAAMAAAAEAAQAAQD///////8FAAAABAAQAAsP/LStslFSR47C5lkJIDC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3cuOoI4FkOWkkqcxX8nEQREYXRhAAUAAAAAAk5hbWUADQAAAExpbmtEYXRhTGlzdAAQVmVyc2lvbgAAAAAACUxhc3RXcml0ZQBZSXU/lwEAAAABAP////9hAGEAAAAFX2lkABAAAAAEFIE9fa8bm0KB7Jo+v801QwREYXRhAAUAAAAAAk5hbWUADQAAAExpbmtEYXRhTGlzdAAQVmVyc2lvbgABAAAACUxhc3RXcml0ZQBeSXU/lwEAAAACAP////9wAHAAAAAFX2lkABAAAAAED/y0rbJRUkeOwuZZCSAwhgNEYXRhABYAAAACUGVyc29uYWxJZAABAAAAAAACTmFtZQALAAAAUGVyc29uYWxJZAAQVmVyc2lvbgAAAAAACUxhc3RXcml0ZQDOyD9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5921064"/>
  <p:tag name="EMPOWERCHARTSPROPERTIES_B_LENGTH" val="24576"/>
  <p:tag name="DOWN_MIGRATION_INITIAL_LAYOUT_REQUIRED" val="9.2.9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a8a08ba-e7c9-4c94-b467-b242c49e3599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xBqoBc1BPdGqS0qQQtdW8UEAAAAAAADAAAAAAADAAAAAwADAAAAAAADAAAABAADAAAAAAD///////8DAAEA////////BQAAAAMAEAALCClfeO56Ek6wfh1yDRgKYQQAAAABAAMAAAACAAMAAAAEAAQAAgD///////8FAAAABAAQAAupnHSZiVeIRrCr9r52le4g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GqgFzUE90apLSpBC11bxQREYXRhAAUAAAAAAk5hbWUADQAAAExpbmtEYXRhTGlzdAAQVmVyc2lvbgABAAAACUxhc3RXcml0ZQCXSXU/lwEAAAABAP////9wAHAAAAAFX2lkABAAAAAECClfeO56Ek6wfh1yDRgKYQNEYXRhABYAAAACUGVyc29uYWxJZAABAAAAAAACTmFtZQALAAAAUGVyc29uYWxJZAAQVmVyc2lvbgAAAAAACUxhc3RXcml0ZQDNyT9NlQEAAAACAP////9hAGEAAAAFX2lkABAAAAAEqZx0mYlXiEawq/a+dpXuIAREYXRhAAUAAAAAAk5hbWUADQAAAExpbmtEYXRhTGlzdAAQVmVyc2lvbgAAAAAACUxhc3RXcml0ZQCXSX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EAP///////wUAAAAE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BAAFAAAAAwAFAAAABAD///////8FAAAAAAD///////8DAAEBAwAAAAMA////////DAAGUGVyc29uYWxJZF8wBAAAAAEABQAAAAIABQAAAAEABAACAQMAAAAEAP///////w4ABkxpbmtEYXRhTGlzdF8wBAAAAAIABQAAAAAABQ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6690785"/>
  <p:tag name="EMPOWERCHARTSPROPERTIES_B_LENGTH" val="24576"/>
  <p:tag name="DOWN_MIGRATION_INITIAL_LAYOUT_REQUIRED" val="9.2.9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1c6becd-1301-4932-ba17-32aea901bb07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+hLQ6IxoxIgLwLBgd97UMEAAAAAAADAAAAAAADAAAAAwADAAEA////////BQAAAAMAEAALtZqRfFx44EKUGOqxzcvHuwQAAAABAAMAAAACAAMAAAAEAAQAAQD///////8FAAAABAAQAAsqNMuquReVTZX5ISYtUpOz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6EtDojGjEiAvAsGB33tQwREYXRhAAUAAAAAAk5hbWUADQAAAExpbmtEYXRhTGlzdAAQVmVyc2lvbgABAAAACUxhc3RXcml0ZQDVSXU/lwEAAAABAP////9wAHAAAAAFX2lkABAAAAAEtZqRfFx44EKUGOqxzcvHuwNEYXRhABYAAAACUGVyc29uYWxJZAABAAAAAAACTmFtZQALAAAAUGVyc29uYWxJZAAQVmVyc2lvbgAAAAAACUxhc3RXcml0ZQD+yT9NlQEAAAACAP////9hAGEAAAAFX2lkABAAAAAEKjTLqrkXlU2V+SEmLVKTswREYXRhAAUAAAAAAk5hbWUADQAAAExpbmtEYXRhTGlzdAAQVmVyc2lvbgAAAAAACUxhc3RXcml0ZQDVSX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BAAFAAAAAwADAAEBAwAAAAMA////////DAAGUGVyc29uYWxJZF8wBAAAAAEABQAAAAIABQAAAAEABAABAQMAAAAEAP///////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7160584"/>
  <p:tag name="EMPOWERCHARTSPROPERTIES_B_LENGTH" val="24576"/>
  <p:tag name="DOWN_MIGRATION_INITIAL_LAYOUT_REQUIRED" val="9.2.9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9150365-35a2-48a4-a6ec-e2e441d63349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59E3G6XnJZCvLHaNNRDG4kEAAAAAAADAAAAAAADAAAAAwADAAAAAAADAAAAAwADAAAAAAADAAAAAwADAAMA////////BQAAAAMAEAAL6tINt+/y20S4kYOj18vgLAQAAAABAAMAAAACAAMAAAAEAAMAAAACAP///////wMAAAACAP///////wQAAQD///////8FAAAABAAQAAs+i2/WkIKRRJrBOumgkXb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n0TcbpeclkK8sdo01EMbiQNEYXRhABYAAAACUGVyc29uYWxJZAABAAAAAAACTmFtZQALAAAAUGVyc29uYWxJZAAQVmVyc2lvbgAAAAAACUxhc3RXcml0ZQAiyj9NlQEAAAABAP////9hAGEAAAAFX2lkABAAAAAE6tINt+/y20S4kYOj18vgLAREYXRhAAUAAAAAAk5hbWUADQAAAExpbmtEYXRhTGlzdAAQVmVyc2lvbgABAAAACUxhc3RXcml0ZQADSnU/lwEAAAACAP////9hAGEAAAAFX2lkABAAAAAEPotv1pCCkUSawTrpoJF2xQREYXRhAAUAAAAAAk5hbWUADQAAAExpbmtEYXRhTGlzdAAQVmVyc2lvbgAAAAAACUxhc3RXcml0ZQADSn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E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AAGUGVyc29uYWxJZF8wBAAAAAAABQAAAAMABQAAAAEABQAAAAMA////////BQAAAAMA////////AwADAQMAAAADAP///////w4ABkxpbmtEYXRhTGlzdF8xBAAAAAEABQAAAAQABQAAAAIABQAAAAAABQAAAAIABQAAAAAABQAAAAIABAABAQMAAAAEAP///////w4ABkxpbmtEYXRhTGlzdF8wBAAAAAI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7796740"/>
  <p:tag name="EMPOWERCHARTSPROPERTIES_B_LENGTH" val="24576"/>
  <p:tag name="DOWN_MIGRATION_INITIAL_LAYOUT_REQUIRED" val="9.2.9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ad1f8b4-5afd-41c5-909d-41455e3d0aaf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oW42aCSKJLv+LthTNzg5kEAAAAAAADAAAAAAADAAAAAwADAAMA////////BQAAAAMAEAAL3MZAjASSc0KBBGN/n517NQQAAAABAAMAAAACAAMAAAAEAAMAAAAAAAMAAAAEAAMAAAAAAP///////wQAAgD///////8FAAAABAAQAAsdNrjzyaFLR6nhaEEknVqR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yhbjZoJIoku/4u2FM3ODmQNEYXRhABYAAAACUGVyc29uYWxJZAABAAAAAAACTmFtZQALAAAAUGVyc29uYWxJZAAQVmVyc2lvbgAAAAAACUxhc3RXcml0ZQBGyj9NlQEAAAABAP////9hAGEAAAAFX2lkABAAAAAE3MZAjASSc0KBBGN/n517NQREYXRhAAUAAAAAAk5hbWUADQAAAExpbmtEYXRhTGlzdAAQVmVyc2lvbgAAAAAACUxhc3RXcml0ZQBSSnU/lwEAAAACAP////9hAGEAAAAFX2lkABAAAAAEHTa488mhS0ep4WhBJJ1akQREYXRhAAUAAAAAAk5hbWUADQAAAExpbmtEYXRhTGlzdAAQVmVyc2lvbgABAAAACUxhc3RXcml0ZQBSSn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QABQAAAAEAAwADAQMAAAADAP///////w4ABkxpbmtEYXRhTGlzdF8wBAAAAAEABQAAAAAABQAAAAQABQAAAAAABQAAAAQABQAAAAAA////////BAACAQMAAAAEAP///////w4ABkxpbmtEYXRhTGlzdF8xBAAAAAIABQAAAAMABQAAAAI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8472113"/>
  <p:tag name="EMPOWERCHARTSPROPERTIES_B_LENGTH" val="24576"/>
  <p:tag name="DOWN_MIGRATION_INITIAL_LAYOUT_REQUIRED" val="9.2.9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d1fa3bb-282c-43c8-8065-71e8742fde24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2r6eAndmWhApnQWZ1C8yv4EAAAAAAADAAAAAAADAAAAAwADAAAAAAD///////8DAAAAAAD///////8DAAEA////////BQAAAAMAEAAL+M+pCk9VO0ezlTnLAM86tQQAAAABAAMAAAACAAMAAAAEAAQAAQD///////8FAAAABAAQAAtkIoGHE823RLJi87Ya8BD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vp4Cd2ZaECmdBZnULzK/gREYXRhAAUAAAAAAk5hbWUADQAAAExpbmtEYXRhTGlzdAAQVmVyc2lvbgABAAAACUxhc3RXcml0ZQCCSnU/lwEAAAABAP////9hAGEAAAAFX2lkABAAAAAE+M+pCk9VO0ezlTnLAM86tQREYXRhAAUAAAAAAk5hbWUADQAAAExpbmtEYXRhTGlzdAAQVmVyc2lvbgAAAAAACUxhc3RXcml0ZQCBSnU/lwEAAAACAP////9wAHAAAAAFX2lkABAAAAAEZCKBhxPNt0SyYvO2GvAQ7QNEYXRhABYAAAACUGVyc29uYWxJZAABAAAAAAACTmFtZQALAAAAUGVyc29uYWxJZAAQVmVyc2lvbgAAAAAACUxhc3RXcml0ZQBpyj9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8935369"/>
  <p:tag name="EMPOWERCHARTSPROPERTIES_B_LENGTH" val="24576"/>
  <p:tag name="DOWN_MIGRATION_INITIAL_LAYOUT_REQUIRED" val="9.2.9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3ed0256-5e0a-420c-8470-1e436fe2d18d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+5c0aXv5tDk9A/xNcWBHAEAAAAAAADAAAAAAADAAAAAwADAAAAAAADAAAAAwADAAIA////////BQAAAAMAEAALGTv7/L/kKUCInaWKOOAUFwQAAAABAAMAAAACAAMAAAAEAAMAAAACAP///////wQAAQD///////8FAAAABAAQAAvs4TH+4Sy5RbLMShYd0H3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7lzRpe/m0OT0D/E1xYEcAREYXRhAAUAAAAAAk5hbWUADQAAAExpbmtEYXRhTGlzdAAQVmVyc2lvbgABAAAACUxhc3RXcml0ZQCvSnU/lwEAAAABAP////9wAHAAAAAFX2lkABAAAAAEGTv7/L/kKUCInaWKOOAUFwNEYXRhABYAAAACUGVyc29uYWxJZAABAAAAAAACTmFtZQALAAAAUGVyc29uYWxJZAAQVmVyc2lvbgAAAAAACUxhc3RXcml0ZQCXyj9NlQEAAAACAP////9hAGEAAAAFX2lkABAAAAAE7OEx/uEsuUWyzEoWHdB9/QREYXRhAAUAAAAAAk5hbWUADQAAAExpbmtEYXRhTGlzdAAQVmVyc2lvbgAAAAAACUxhc3RXcml0ZQCvSn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E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BAAFAAAAAwAFAAAAAAAFAAAAAwADAAIBAwAAAAMA////////DAAGUGVyc29uYWxJZF8wBAAAAAEABQAAAAIABQAAAAEABQAAAAIA////////BAABAQMAAAAEAP///////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9391822"/>
  <p:tag name="EMPOWERCHARTSPROPERTIES_B_LENGTH" val="24576"/>
  <p:tag name="DOWN_MIGRATION_INITIAL_LAYOUT_REQUIRED" val="9.2.9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c1b8968-c868-422e-8d5c-8d446f2d3d08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+BBaHslRGtFqhrtRpb/TgoEAAAAAAADAAAAAAADAAAAAwADAAEA////////BQAAAAMAEAALjnItr5Q1gEaxlqOmYIwOxQQAAAABAAMAAAACAAMAAAAEAAQAAQD///////8FAAAABAAQAAue2ZTbM1/NRYah1Xc6dr6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4EFoeyVEa0WqGu1Glv9OCgNEYXRhABYAAAACUGVyc29uYWxJZAABAAAAAAACTmFtZQALAAAAUGVyc29uYWxJZAAQVmVyc2lvbgAAAAAACUxhc3RXcml0ZQDHyj9NlQEAAAABAP////9hAGEAAAAFX2lkABAAAAAEjnItr5Q1gEaxlqOmYIwOxQREYXRhAAUAAAAAAk5hbWUADQAAAExpbmtEYXRhTGlzdAAQVmVyc2lvbgABAAAACUxhc3RXcml0ZQDeSnU/lwEAAAACAP////9hAGEAAAAFX2lkABAAAAAEntmU2zNfzUWGodV3Ona+kgREYXRhAAUAAAAAAk5hbWUADQAAAExpbmtEYXRhTGlzdAAQVmVyc2lvbgAAAAAACUxhc3RXcml0ZQDcSn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MABQAAAAEAAwABAQMAAAADAP///////w4ABkxpbmtEYXRhTGlzdF8xBAAAAAEABQAAAAQABQAAAAIABAABAQMAAAAEAP///////w4ABkxpbmtEYXRhTGlzdF8wBAAAAAI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09875689"/>
  <p:tag name="EMPOWERCHARTSPROPERTIES_B_LENGTH" val="24576"/>
  <p:tag name="DOWN_MIGRATION_INITIAL_LAYOUT_REQUIRED" val="9.2.9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265cf5d-caf9-4798-b29c-38ccae3584bc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zgsAAAAAAAAAAAAAIAD///////////////8AAAD////////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oe/nwByxFBon3UEvPPOxQEAAAAAAADAAAAAAADAAAAAwADAAcA////////BQAAAAMAEAALNenvfW3Z0USDMxq+5kWvQAQAAAABAAMAAAACAAMAAAAEAAMAAAAAAP///////wMAAAAAAP///////wMAAAAAAP///////wMAAAAAAP///////wMAAAAAAP///////wMAAAAAAP///////wQAAQD///////8FAAAABAAQAAuxvVjtqx0cSKcEvpbmuGm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h7+fAHLEUGifdQS8887FAREYXRhAAUAAAAAAk5hbWUADQAAAExpbmtEYXRhTGlzdAAQVmVyc2lvbgAAAAAACUxhc3RXcml0ZQAMS3U/lwEAAAABAP////9hAGEAAAAFX2lkABAAAAAENenvfW3Z0USDMxq+5kWvQAREYXRhAAUAAAAAAk5hbWUADQAAAExpbmtEYXRhTGlzdAAQVmVyc2lvbgABAAAACUxhc3RXcml0ZQANS3U/lwEAAAACAP////9wAHAAAAAFX2lkABAAAAAEsb1Y7asdHEinBL6W5rhpuANEYXRhABYAAAACUGVyc29uYWxJZAABAAAAAAACTmFtZQALAAAAUGVyc29uYWxJZAAQVmVyc2lvbgAAAAAACUxhc3RXcml0ZQD0yj9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C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cBAwAAAAMA////////DgAGTGlua0RhdGFMaXN0XzEEAAAAAQAFAAAAAgAFAAAABAAFAAAAAAD///////8FAAAAAAD///////8FAAAAAA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10396664"/>
  <p:tag name="EMPOWERCHARTSPROPERTIES_B_LENGTH" val="24576"/>
  <p:tag name="DOWN_MIGRATION_INITIAL_LAYOUT_REQUIRED" val="9.2.9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526acc9-b284-42ae-a915-bdad024d38a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DsDCRewAVDiV/jUOWeRHMEAAAAAAADAAAAAAADAAAAAwADAAMA////////BQAAAAMAEAALoPDkP07T7kuZX6ZHfjmQTgQAAAABAAMAAAACAAMAAAAEAAMAAAAAAAMAAAAEAAMAAAAAAP///////wQAAgD///////8FAAAABAAQAAsb5XK3nu8vQauROj0kuZmM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8OwMJF7ABUOJX+NQ5Z5EcwNEYXRhABYAAAACUGVyc29uYWxJZAABAAAAAAACTmFtZQALAAAAUGVyc29uYWxJZAAQVmVyc2lvbgAAAAAACUxhc3RXcml0ZQAyyz9NlQEAAAABAP////9hAGEAAAAFX2lkABAAAAAEoPDkP07T7kuZX6ZHfjmQTgREYXRhAAUAAAAAAk5hbWUADQAAAExpbmtEYXRhTGlzdAAQVmVyc2lvbgABAAAACUxhc3RXcml0ZQBOS3U/lwEAAAACAP////9hAGEAAAAFX2lkABAAAAAEG+Vyt57vL0GrkTo9JLmZjAREYXRhAAUAAAAAAk5hbWUADQAAAExpbmtEYXRhTGlzdAAQVmVyc2lvbgAAAAAACUxhc3RXcml0ZQBOS3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EAP///////wUAAAAE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MABQAAAAEAAwADAQMAAAADAP///////w4ABkxpbmtEYXRhTGlzdF8xBAAAAAEABQAAAAQABQAAAAIABQAAAAQA////////BQAAAAAA////////BAACAQMAAAAEAP///////w4ABkxpbmtEYXRhTGlzdF8wBAAAAAIABQAAAAA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10991481"/>
  <p:tag name="EMPOWERCHARTSPROPERTIES_B_LENGTH" val="24576"/>
  <p:tag name="DOWN_MIGRATION_INITIAL_LAYOUT_REQUIRED" val="9.2.9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2b206d0-223e-4aa3-91e2-7eed056d3b29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IseR7oQ/1OutJOQgL4b7wEAAAAAAADAAAAAAADAAAAAwADAAEA////////BQAAAAMAEAALGI53R0zOzkW9vZiYg4nZqgQAAAABAAMAAAACAAMAAAAEAAQABAD///////8FAAAABAAQAAsNNPCNZhLjQ5RLqvf6k7HdBAAAAAIAAwAAAAMAAwAAAAE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ix5HuhD/U660k5CAvhvvAREYXRhAAUAAAAAAk5hbWUADQAAAExpbmtEYXRhTGlzdAAQVmVyc2lvbgABAAAACUxhc3RXcml0ZQB7S3U/lwEAAAABAP////9hAGEAAAAFX2lkABAAAAAEGI53R0zOzkW9vZiYg4nZqgREYXRhAAUAAAAAAk5hbWUADQAAAExpbmtEYXRhTGlzdAAQVmVyc2lvbgAAAAAACUxhc3RXcml0ZQB7S3U/lwEAAAACAP////9wAHAAAAAFX2lkABAAAAAEDTTwjWYS40OUS6r3+pOx3QNEYXRhABYAAAACUGVyc29uYWxJZAABAAAAAAACTmFtZQALAAAAUGVyc29uYWxJZAAQVmVyc2lvbgAAAAAACUxhc3RXcml0ZQCF+j9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QBAwAAAAQA////////DAAGUGVyc29uYWxJZF8wBAAAAAIABQAAAAIABQAAAAEA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11446577"/>
  <p:tag name="EMPOWERCHARTSPROPERTIES_B_LENGTH" val="24576"/>
  <p:tag name="DOWN_MIGRATION_INITIAL_LAYOUT_REQUIRED" val="9.2.9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c85c0ab-e441-4b45-81db-baa9edd00ec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AhiCNWgiRLuJq5MvZ90aUEAAAAAAADAAAAAAADAAAAAwADAAEA////////BQAAAAMAEAALQyA760PGDU6c7ZGFxFttRQQAAAABAAMAAAACAAMAAAAEAAQAAgD///////8FAAAABAAQAAsZg7v8ui4jTJKCfmSnupTJ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ECGII1aCJEu4mrky9n3RpQNEYXRhABYAAAACUGVyc29uYWxJZAABAAAAAAACTmFtZQALAAAAUGVyc29uYWxJZAAQVmVyc2lvbgAAAAAACUxhc3RXcml0ZQBl+j9NlQEAAAABAP////9hAGEAAAAFX2lkABAAAAAEQyA760PGDU6c7ZGFxFttRQREYXRhAAUAAAAAAk5hbWUADQAAAExpbmtEYXRhTGlzdAAQVmVyc2lvbgABAAAACUxhc3RXcml0ZQCsS3U/lwEAAAACAP////9hAGEAAAAFX2lkABAAAAAEGYO7/LouI0ySgn5kp7qUyQREYXRhAAUAAAAAAk5hbWUADQAAAExpbmtEYXRhTGlzdAAQVmVyc2lvbgAAAAAACUxhc3RXcml0ZQCqS3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MABQAAAAEAAwABAQMAAAADAP///////w4ABkxpbmtEYXRhTGlzdF8xBAAAAAEABQAAAAQABQAAAAIABAACAQMAAAAEAP///////w4ABkxpbmtEYXRhTGlzdF8wBAAAAAIABQAAAAAABQAAAAM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11956383"/>
  <p:tag name="EMPOWERCHARTSPROPERTIES_B_LENGTH" val="24576"/>
  <p:tag name="DOWN_MIGRATION_INITIAL_LAYOUT_REQUIRED" val="9.2.9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w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0dg81rch09Ktp+T1pYMgnMEAAAAAAADAAAAAAADAAAABAADAAAAAAADAAAABAADAAAAAAADAAAABAADAAAAAAD///////8DAAMA////////BQAAAAMAEAAL8w1I+xodlk2OIp9isCP7NwQAAAABAAMAAAAEAAMAAAABAAMAAAAEAP///////wMAAAAEAP///////wQAAwD///////8FAAAABAAQAAtfFzDyAY+hS5Kxy9XczuTx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2DzWtyHT0q2n5PWlgyCcwREYXRhAAUAAAAAAk5hbWUADQAAAExpbmtEYXRhTGlzdAAQVmVyc2lvbgAAAAAACUxhc3RXcml0ZQDcS3U/lwEAAAABAP////9hAGEAAAAFX2lkABAAAAAE8w1I+xodlk2OIp9isCP7NwREYXRhAAUAAAAAAk5hbWUADQAAAExpbmtEYXRhTGlzdAAQVmVyc2lvbgABAAAACUxhc3RXcml0ZQDeS3U/lwEAAAACAP////9wAHAAAAAFX2lkABAAAAAEXxcw8gGPoUuSscvV3M7k8QNEYXRhABYAAAACUGVyc29uYWxJZAABAAAAAAACTmFtZQALAAAAUGVyc29uYWxJZAAQVmVyc2lvbgAAAAAACUxhc3RXcml0ZQD5S3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AwAFAAAAAAAFAAAAAwAFAAAAAAD///////8DAAMBAwAAAAMA////////DgAGTGlua0RhdGFMaXN0XzEEAAAAAQAFAAAAAgAFAAAABAAFAAAAAgAFAAAABAAFAAAAAgAFAAAABAA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412678704"/>
  <p:tag name="EMPOWERCHARTSPROPERTIES_B_LENGTH" val="24576"/>
  <p:tag name="DOWN_MIGRATION_INITIAL_LAYOUT_REQUIRED" val="9.2.99"/>
  <p:tag name="RUNTIME_ID" val="3cbad29a-e34c-4cc7-850d-75cda45a170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3zknR7mENBmg9N/GOc4F0EAAAAAAADAAAAAAADAAAAAwADAAEA////////BQAAAAMAEAALxCrcxmvdbEyHFpj+kgT6dQQAAAABAAMAAAACAAMAAAAEAAQAAQD///////8FAAAABAAQAAs9S0bU/zYTQa2zEgD2rWLm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fOSdHuYQ0GaD038Y5zgXQREYXRhAAUAAAAAAk5hbWUADQAAAExpbmtEYXRhTGlzdAAQVmVyc2lvbgAAAAAACUxhc3RXcml0ZQAwE3Y/lwEAAAABAP////9hAGEAAAAFX2lkABAAAAAExCrcxmvdbEyHFpj+kgT6dQREYXRhAAUAAAAAAk5hbWUADQAAAExpbmtEYXRhTGlzdAAQVmVyc2lvbgABAAAACUxhc3RXcml0ZQAwE3Y/lwEAAAACAP////9wAHAAAAAFX2lkABAAAAAEPUtG1P82E0GtsxIA9q1i5gNEYXRhABYAAAACUGVyc29uYWxJZAABAAAAAAACTmFtZQALAAAAUGVyc29uYWxJZAAQVmVyc2lvbgAAAAAACUxhc3RXcml0ZQBLE3Y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IBAwAAAAQA////////DAAGUGVyc29uYWxJZF8wBAAAAAIABQAAAAM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923034362"/>
  <p:tag name="EMPOWERCHARTSPROPERTIES_B_LENGTH" val="24576"/>
  <p:tag name="DOWN_MIGRATION_INITIAL_LAYOUT_REQUIRED" val="9.2.99"/>
  <p:tag name="RUNTIME_ID" val="0ca87d88-57dd-48f6-8379-d7d8326e342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oorzljJKdEovgiKevVmswEAAAAAAADAAAAAAADAAAAAwADAAAAAAADAAAAAwADAAAAAAADAAAAAwADAAMA////////BQAAAAMAEAALfWcGkT4mVUSMf4Dajl5BKAQAAAABAAMAAAACAAMAAAAEAAMAAAACAP///////wMAAAACAP///////wQAAQD///////8FAAAABAAQAAv770yiTSWyTJBvIgHkEdB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iivOWMkp0Si+CIp69WazAREYXRhAAUAAAAAAk5hbWUADQAAAExpbmtEYXRhTGlzdAAQVmVyc2lvbgABAAAACUxhc3RXcml0ZQCHE3Y/lwEAAAABAP////9hAGEAAAAFX2lkABAAAAAEfWcGkT4mVUSMf4Dajl5BKAREYXRhAAUAAAAAAk5hbWUADQAAAExpbmtEYXRhTGlzdAAQVmVyc2lvbgAAAAAACUxhc3RXcml0ZQCDE3Y/lwEAAAACAP////9wAHAAAAAFX2lkABAAAAAE++9Mok0lskyQbyIB5BHQbgNEYXRhABYAAAACUGVyc29uYWxJZAABAAAAAAACTmFtZQALAAAAUGVyc29uYWxJZAAQVmVyc2lvbgAAAAAACUxhc3RXcml0ZQClE3Y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AFAAAABAAFAAAAAwAFAAAABAADAAMBAwAAAAMA////////DgAGTGlua0RhdGFMaXN0XzAEAAAAAQAFAAAAAAAFAAAAAgAFAAAAAAAFAAAAAgAFAAAAAAAFAAAAAgAEAAMBAwAAAAQA////////DAAGUGVyc29uYWxJZF8wBAAAAAIABQAAAAIABQAAAAEA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923836147"/>
  <p:tag name="EMPOWERCHARTSPROPERTIES_B_LENGTH" val="24576"/>
  <p:tag name="DOWN_MIGRATION_INITIAL_LAYOUT_REQUIRED" val="9.2.99"/>
  <p:tag name="RUNTIME_ID" val="1583a8e1-1197-457a-878e-a6587fc7ec1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47yzPOJibdJgT16gPbYIv8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7yzPOJibdJgT16gPbYIv8DRGF0YQAWAAAAAlBlcnNvbmFsSWQAAQAAAAAAAk5hbWUACwAAAFBlcnNvbmFsSWQAEFZlcnNpb24AAAAAAAlMYXN0V3JpdGUA5OO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857621953"/>
  <p:tag name="EMPOWERCHARTSPROPERTIES_A_LENGTH" val="24576"/>
  <p:tag name="RUNTIME_ID" val="9e7b0461-33df-47d0-8770-9271bc36fe8c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/h9NmZFgshPogCIy/+lTk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h9NmZFgshPogCIy/+lTkkDRGF0YQAWAAAAAlBlcnNvbmFsSWQAAQAAAAAAAk5hbWUACwAAAFBlcnNvbmFsSWQAEFZlcnNpb24AAAAAAAlMYXN0V3JpdGUAEOS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857965705"/>
  <p:tag name="EMPOWERCHARTSPROPERTIES_A_LENGTH" val="24576"/>
  <p:tag name="RUNTIME_ID" val="de245eb6-ee54-4a1a-8486-894b360c28a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WwTD4Nh4pJtH2/j2Hjr9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WwTD4Nh4pJtH2/j2Hjr9ADRGF0YQAWAAAAAlBlcnNvbmFsSWQAAQAAAAAAAk5hbWUACwAAAFBlcnNvbmFsSWQAEFZlcnNpb24AAAAAAAlMYXN0V3JpdGUANOS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858284055"/>
  <p:tag name="EMPOWERCHARTSPROPERTIES_A_LENGTH" val="24576"/>
  <p:tag name="RUNTIME_ID" val="68fae0a3-780a-49c2-b95c-48d021af345f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XcAR5DcmFOosP+0bnV+ow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XcAR5DcmFOosP+0bnV+owDRGF0YQAWAAAAAlBlcnNvbmFsSWQAAQAAAAAAAk5hbWUACwAAAFBlcnNvbmFsSWQAEFZlcnNpb24AAAAAAAlMYXN0V3JpdGUA+3qLOJ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60072199876317"/>
  <p:tag name="EMPOWERCHARTSPROPERTIES_A_LENGTH" val="24576"/>
  <p:tag name="RUNTIME_ID" val="80343f66-ef0a-48bb-8b85-1a08a0aeb32b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wxEM+W+plGlCQhDR02O+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wxEM+W+plGlCQhDR02O+IDRGF0YQAWAAAAAlBlcnNvbmFsSWQAAQAAAAAAAk5hbWUACwAAAFBlcnNvbmFsSWQAEFZlcnNpb24AAAAAAAlMYXN0V3JpdGUAfXqLOJ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60072198624779"/>
  <p:tag name="EMPOWERCHARTSPROPERTIES_A_LENGTH" val="24576"/>
  <p:tag name="RUNTIME_ID" val="3b678068-58c0-4bcd-ac92-531404759e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J/Daj0AY1Cq3PTIt6w83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J/Daj0AY1Cq3PTIt6w83IDRGF0YQAWAAAAAlBlcnNvbmFsSWQAAQAAAAAAAk5hbWUACwAAAFBlcnNvbmFsSWQAEFZlcnNpb24AAAAAAAlMYXN0V3JpdGUAZMq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792653982"/>
  <p:tag name="EMPOWERCHARTSPROPERTIES_A_LENGTH" val="24576"/>
  <p:tag name="RUNTIME_ID" val="eecb53d1-e8a8-459e-b9f6-c172131c029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onOZSN0Y9Pkn8Nrk8gHk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onOZSN0Y9Pkn8Nrk8gHkADRGF0YQAWAAAAAlBlcnNvbmFsSWQAAQAAAAAAAk5hbWUACwAAAFBlcnNvbmFsSWQAEFZlcnNpb24AAAAAAAlMYXN0V3JpdGUAFM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794067712"/>
  <p:tag name="EMPOWERCHARTSPROPERTIES_A_LENGTH" val="24576"/>
  <p:tag name="RUNTIME_ID" val="62aa4db3-6ad5-4359-b481-1153df0a89f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V2d7PCMR5Nh/Eo51umet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V2d7PCMR5Nh/Eo51umetMDRGF0YQAWAAAAAlBlcnNvbmFsSWQAAQAAAAAAAk5hbWUACwAAAFBlcnNvbmFsSWQAEFZlcnNpb24AAAAAAAlMYXN0V3JpdGUAOc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794388662"/>
  <p:tag name="EMPOWERCHARTSPROPERTIES_A_LENGTH" val="24576"/>
  <p:tag name="RUNTIME_ID" val="7e446c08-69f0-481f-94f1-0aeb6beff86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JNqCFaZvdCv5ifEgBb+z4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JNqCFaZvdCv5ifEgBb+z4DRGF0YQAWAAAAAlBlcnNvbmFsSWQAAQAAAAAAAk5hbWUACwAAAFBlcnNvbmFsSWQAEFZlcnNpb24AAAAAAAlMYXN0V3JpdGUAYM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794754010"/>
  <p:tag name="EMPOWERCHARTSPROPERTIES_A_LENGTH" val="24576"/>
  <p:tag name="RUNTIME_ID" val="15a50045-4e8a-4579-bc48-3247bbdcbed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VkrNcaoW1DsXWubfKQL6M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VkrNcaoW1DsXWubfKQL6MDRGF0YQAWAAAAAlBlcnNvbmFsSWQAAQAAAAAAAk5hbWUACwAAAFBlcnNvbmFsSWQAEFZlcnNpb24AAAAAAAlMYXN0V3JpdGUAkc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795210393"/>
  <p:tag name="EMPOWERCHARTSPROPERTIES_A_LENGTH" val="24576"/>
  <p:tag name="RUNTIME_ID" val="313bd9e9-a461-43e0-9a57-d6ca3c08c72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jxQ/ri6wVGj8YKxxOLek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jxQ/ri6wVGj8YKxxOLekwDRGF0YQAWAAAAAlBlcnNvbmFsSWQAAQAAAAAAAk5hbWUACwAAAFBlcnNvbmFsSWQAEFZlcnNpb24AAAAAAAlMYXN0V3JpdGUA4/i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1301850"/>
  <p:tag name="EMPOWERCHARTSPROPERTIES_A_LENGTH" val="24576"/>
  <p:tag name="RUNTIME_ID" val="12b7df8d-d486-4dc0-b7fa-fa7a7b8be7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HFCrp0VzdEumC2VRbDBK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HFCrp0VzdEumC2VRbDBK4DRGF0YQAWAAAAAlBlcnNvbmFsSWQAAQAAAAAAAk5hbWUACwAAAFBlcnNvbmFsSWQAEFZlcnNpb24AAAAAAAlMYXN0V3JpdGUACvm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1895163"/>
  <p:tag name="EMPOWERCHARTSPROPERTIES_A_LENGTH" val="24576"/>
  <p:tag name="RUNTIME_ID" val="845c523f-b516-444c-a36d-20217bbbd49f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EAAAAAAAAAAwAAAAMAAAAA/////wMARA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0XeTTcG1KhLpT2PzQluHNsFAAAAAAADAAAAAAADAAAAAQA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XeTTcG1KhLpT2PzQluHNsDRGF0YQAWAAAAAlBlcnNvbmFsSWQAAQAAAAAAAk5hbWUACwAAAFBlcnNvbmFsSWQAEFZlcnNpb24AAAAAAAlMYXN0V3JpdGUARPm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2272588"/>
  <p:tag name="EMPOWERCHARTSPROPERTIES_A_LENGTH" val="24576"/>
  <p:tag name="RUNTIME_ID" val="bebe3f6c-7d33-47cb-be05-8ce614515d3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L1P9stVZhOk/vXaglg2e0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L1P9stVZhOk/vXaglg2e0DRGF0YQAWAAAAAlBlcnNvbmFsSWQAAQAAAAAAAk5hbWUACwAAAFBlcnNvbmFsSWQAEFZlcnNpb24AAAAAAAlMYXN0V3JpdGUAZvm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2659837"/>
  <p:tag name="EMPOWERCHARTSPROPERTIES_A_LENGTH" val="24576"/>
  <p:tag name="RUNTIME_ID" val="6fd19112-8618-4e38-9443-8c7d131b31b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MqnaKocztPv3Zlvg+dC2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MqnaKocztPv3Zlvg+dC2QDRGF0YQAWAAAAAlBlcnNvbmFsSWQAAQAAAAAAAk5hbWUACwAAAFBlcnNvbmFsSWQAEFZlcnNpb24AAAAAAAlMYXN0V3JpdGUAivm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3045005"/>
  <p:tag name="EMPOWERCHARTSPROPERTIES_A_LENGTH" val="24576"/>
  <p:tag name="RUNTIME_ID" val="c9b22d7d-a81f-4c69-975c-94535712d81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HDlmYNip1JmZ5vB+RTBn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HDlmYNip1JmZ5vB+RTBnMDRGF0YQAWAAAAAlBlcnNvbmFsSWQAAQAAAAAAAk5hbWUACwAAAFBlcnNvbmFsSWQAEFZlcnNpb24AAAAAAAlMYXN0V3JpdGUAv/m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3546379"/>
  <p:tag name="EMPOWERCHARTSPROPERTIES_A_LENGTH" val="24576"/>
  <p:tag name="RUNTIME_ID" val="522d0a14-3253-4606-9197-ec1bf3c8793c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q+OVf3QRKmaabFDkky50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lq+OVf3QRKmaabFDkky50DRGF0YQAWAAAAAlBlcnNvbmFsSWQAAQAAAAAAAk5hbWUACwAAAFBlcnNvbmFsSWQAEFZlcnNpb24AAAAAAAlMYXN0V3JpdGUA6vm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4098904"/>
  <p:tag name="EMPOWERCHARTSPROPERTIES_A_LENGTH" val="24576"/>
  <p:tag name="RUNTIME_ID" val="27c7c803-feee-4069-93b8-c4b2fffa465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EzlHTMlh9BiiDsebS7LwI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EzlHTMlh9BiiDsebS7LwIDRGF0YQAWAAAAAlBlcnNvbmFsSWQAAQAAAAAAAk5hbWUACwAAAFBlcnNvbmFsSWQAEFZlcnNpb24AAAAAAAlMYXN0V3JpdGUAHPq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4573030"/>
  <p:tag name="EMPOWERCHARTSPROPERTIES_A_LENGTH" val="24576"/>
  <p:tag name="RUNTIME_ID" val="fa3a0f5a-5744-4e7b-a383-46673a2023e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3O/gMou8NBvJvJgsZ5EZ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3O/gMou8NBvJvJgsZ5EZsDRGF0YQAWAAAAAlBlcnNvbmFsSWQAAQAAAAAAAk5hbWUACwAAAFBlcnNvbmFsSWQAEFZlcnNpb24AAAAAAAlMYXN0V3JpdGUAXfq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5182998"/>
  <p:tag name="EMPOWERCHARTSPROPERTIES_A_LENGTH" val="24576"/>
  <p:tag name="RUNTIME_ID" val="3f66f2c3-e824-4af2-bf52-96e2b9fe7fc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aQgmkIznNClPdhkdhtrew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aQgmkIznNClPdhkdhtrewDRGF0YQAWAAAAAlBlcnNvbmFsSWQAAQAAAAAAAk5hbWUACwAAAFBlcnNvbmFsSWQAEFZlcnNpb24AAAAAAAlMYXN0V3JpdGUAkfq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5709623"/>
  <p:tag name="EMPOWERCHARTSPROPERTIES_A_LENGTH" val="24576"/>
  <p:tag name="RUNTIME_ID" val="028d0175-2f87-4202-9cf2-4d8fa2e9971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wMZYN+0SRDvianCkNfj7M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MZYN+0SRDvianCkNfj7MDRGF0YQAWAAAAAlBlcnNvbmFsSWQAAQAAAAAAAk5hbWUACwAAAFBlcnNvbmFsSWQAEFZlcnNpb24AAAAAAAlMYXN0V3JpdGUAw/q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6212304"/>
  <p:tag name="EMPOWERCHARTSPROPERTIES_A_LENGTH" val="24576"/>
  <p:tag name="RUNTIME_ID" val="a79194e1-5513-400d-8cec-a04aacd3946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DdaChcIOBHshhIQk/Cp6I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DdaChcIOBHshhIQk/Cp6IDRGF0YQAWAAAAAlBlcnNvbmFsSWQAAQAAAAAAAk5hbWUACwAAAFBlcnNvbmFsSWQAEFZlcnNpb24AAAAAAAlMYXN0V3JpdGUA/vq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6821443"/>
  <p:tag name="EMPOWERCHARTSPROPERTIES_A_LENGTH" val="24576"/>
  <p:tag name="RUNTIME_ID" val="a82b280d-252b-492c-a74b-7e4b92a34d28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jzB/7Dx9NPleOGllFnGs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jzB/7Dx9NPleOGllFnGsEDRGF0YQAWAAAAAlBlcnNvbmFsSWQAAQAAAAAAAk5hbWUACwAAAFBlcnNvbmFsSWQAEFZlcnNpb24AAAAAAAlMYXN0V3JpdGUALv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7288369"/>
  <p:tag name="EMPOWERCHARTSPROPERTIES_A_LENGTH" val="24576"/>
  <p:tag name="RUNTIME_ID" val="ad837868-cf89-4e1c-be26-6c53d737ff2c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g2fmA6369OmEVwyOEvEn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g2fmA6369OmEVwyOEvEnoDRGF0YQAWAAAAAlBlcnNvbmFsSWQAAQAAAAAAAk5hbWUACwAAAFBlcnNvbmFsSWQAEFZlcnNpb24AAAAAAAlMYXN0V3JpdGUAX/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7692109"/>
  <p:tag name="EMPOWERCHARTSPROPERTIES_A_LENGTH" val="24576"/>
  <p:tag name="RUNTIME_ID" val="d4567a8b-b7ae-48f2-a3f3-6cd7e59eaa5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karkResqVPn2CECX+aVJ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karkResqVPn2CECX+aVJgDRGF0YQAWAAAAAlBlcnNvbmFsSWQAAQAAAAAAAk5hbWUACwAAAFBlcnNvbmFsSWQAEFZlcnNpb24AAAAAAAlMYXN0V3JpdGUAkv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8249057"/>
  <p:tag name="EMPOWERCHARTSPROPERTIES_A_LENGTH" val="24576"/>
  <p:tag name="RUNTIME_ID" val="bdb0f788-2b69-40ed-a43e-5e4037bfa94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5u1UUyGXxOuR/akVaiFM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5u1UUyGXxOuR/akVaiFM4DRGF0YQAWAAAAAlBlcnNvbmFsSWQAAQAAAAAAAk5hbWUACwAAAFBlcnNvbmFsSWQAEFZlcnNpb24AAAAAAAlMYXN0V3JpdGUAvv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8650447"/>
  <p:tag name="EMPOWERCHARTSPROPERTIES_A_LENGTH" val="24576"/>
  <p:tag name="RUNTIME_ID" val="84226d9b-c27d-48bf-8fc2-bdd8a5707e0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wIMQr2sRqBMhQIFLt2ZNX0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IMQr2sRqBMhQIFLt2ZNX0DRGF0YQAWAAAAAlBlcnNvbmFsSWQAAQAAAAAAAk5hbWUACwAAAFBlcnNvbmFsSWQAEFZlcnNpb24AAAAAAAlMYXN0V3JpdGUA6Pu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9066853"/>
  <p:tag name="EMPOWERCHARTSPROPERTIES_A_LENGTH" val="24576"/>
  <p:tag name="RUNTIME_ID" val="18072dcc-8490-4c4c-b4b2-176e24a7506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7efI4BZ0i1LkOyAfh7Mtfw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efI4BZ0i1LkOyAfh7MtfwDRGF0YQAWAAAAAlBlcnNvbmFsSWQAAQAAAAAAAk5hbWUACwAAAFBlcnNvbmFsSWQAEFZlcnNpb24AAAAAAAlMYXN0V3JpdGUAGvy9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6919610377"/>
  <p:tag name="EMPOWERCHARTSPROPERTIES_A_LENGTH" val="24576"/>
  <p:tag name="RUNTIME_ID" val="e3dca374-a1c8-4cae-94c3-86ebe9ca51bf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7BexYGqIM1Dskq7z9kjIdwEAAAAAAADAAAABAADAAAAAwADAAAAAAADAAAAAwADAAIA////////BQAAAAMAEAALLTDb5lZuU0GAkRVSIieV5QQAAAABAAMAAAACAAMAAAABAAMAAAACAP///////wQAAQD///////8FAAAABAAQAAtmPTAjP5sFTb3qtYwrsiX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sF7FgaogzUOySrvP2SMh3AREYXRhAAUAAAAAAk5hbWUADQAAAExpbmtEYXRhTGlzdAAQVmVyc2lvbgABAAAACUxhc3RXcml0ZQB2x3Y/lwEAAAABAP////9hAGEAAAAFX2lkABAAAAAELTDb5lZuU0GAkRVSIieV5QREYXRhAAUAAAAAAk5hbWUADQAAAExpbmtEYXRhTGlzdAAQVmVyc2lvbgAAAAAACUxhc3RXcml0ZQB1x3Y/lwEAAAACAP////9wAHAAAAAFX2lkABAAAAAEZj0wIz+bBU296rWMK7Il0ANEYXRhABYAAAACUGVyc29uYWxJZAABAAAAAAACTmFtZQALAAAAUGVyc29uYWxJZAAQVmVyc2lvbgAAAAAACUxhc3RXcml0ZQCXx3Y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384514874"/>
  <p:tag name="EMPOWERCHARTSPROPERTIES_B_LENGTH" val="24576"/>
  <p:tag name="DOWN_MIGRATION_INITIAL_LAYOUT_REQUIRED" val="9.2.99"/>
  <p:tag name="RUNTIME_ID" val="250231f6-e98d-4e87-bce7-42c81808163f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zgs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UAAAACABAAC1gg0JkKPU1Pty9HgDgP6ccEAAAAAAADAAAAAAADAAAAAwADAAAAAAD///////8DAAAAAAD///////8DAAAAAAD///////8DAAAAAAD///////8DAAAAAAD///////8DAAAAAAD///////8DAAEA////////BQAAAAMAEAALHbKhp0exAUCvM7bzDdBaMQQAAAABAAMAAAACAAMAAAAEAAQAAQD///////8FAAAABAAQAAsXJv3L4TDaSb0C9nQaKt5q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CDQmQo9TU+3L0eAOA/pxwREYXRhAAUAAAAAAk5hbWUADQAAAExpbmtEYXRhTGlzdAAQVmVyc2lvbgABAAAACUxhc3RXcml0ZQA+4HQ/lwEAAAABAP////9hAGEAAAAFX2lkABAAAAAEHbKhp0exAUCvM7bzDdBaMQREYXRhAAUAAAAAAk5hbWUADQAAAExpbmtEYXRhTGlzdAAQVmVyc2lvbgAAAAAACUxhc3RXcml0ZQAt4HQ/lwEAAAACAP////9wAHAAAAAFX2lkABAAAAAEFyb9y+Ew2km9AvZ0GireagNEYXRhABYAAAACUGVyc29uYWxJZAABAAAAAAACTmFtZQALAAAAUGVyc29uYWxJZAAQVmVyc2lvbgAAAAAACUxhc3RXcml0ZQCE4HQ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cBAwAAAAIA////////DgAGTGlua0RhdGFMaXN0XzEEAAAAAAAFAAAAAwAFAAAABAAFAAAAAAD///////8FAAAAAAD///////8FAAAAAAD///////8FAAAAAAD///////8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137595377"/>
  <p:tag name="EMPOWERCHARTSPROPERTIES_B_LENGTH" val="24576"/>
  <p:tag name="DOWN_MIGRATION_INITIAL_LAYOUT_REQUIRED" val="9.2.99"/>
  <p:tag name="RUNTIME_ID" val="822902d6-cfbd-43fd-9cb7-2f827006c80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/LbkIqiipJhIInAAWQTsIEAAAAAAADAAAAAAADAAAAAwADAAEA////////BQAAAAMAEAALUwO5dN8IfkG11kbrFFoSXgQAAAABAAMAAAACAAMAAAAEAAQAAQD///////8FAAAABAAQAAs51zbwYEW6Tb1RcJXOYYs1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8tuQiqKKkmEgicABZBOwgREYXRhAAUAAAAAAk5hbWUADQAAAExpbmtEYXRhTGlzdAAQVmVyc2lvbgAAAAAACUxhc3RXcml0ZQD+4HQ/lwEAAAABAP////9hAGEAAAAFX2lkABAAAAAEUwO5dN8IfkG11kbrFFoSXgREYXRhAAUAAAAAAk5hbWUADQAAAExpbmtEYXRhTGlzdAAQVmVyc2lvbgABAAAACUxhc3RXcml0ZQAC4XQ/lwEAAAACAP////9wAHAAAAAFX2lkABAAAAAEOdc28GBFuk29UXCVzmGLNQNEYXRhABYAAAACUGVyc29uYWxJZAABAAAAAAACTmFtZQALAAAAUGVyc29uYWxJZAAQVmVyc2lvbgAAAAAACUxhc3RXcml0ZQAf4XQ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UBAwAAAAQA////////DAAGUGVyc29uYWxJZF8wBAAAAAIABQAAAAMABQAAAAEABQAAAAA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139149597"/>
  <p:tag name="EMPOWERCHARTSPROPERTIES_B_LENGTH" val="24576"/>
  <p:tag name="DOWN_MIGRATION_INITIAL_LAYOUT_REQUIRED" val="9.2.99"/>
  <p:tag name="RUNTIME_ID" val="530b0b22-16ba-46b5-a622-4479a4ef522c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s2i0fGfB1FjoYQkIpRT8gEAAAAAAADAAAAAAADAAAAAwADAAAAAAADAAAAAwADAAIA////////BQAAAAMAEAALXlEhiaVKsEGD/TsiC0EJewQAAAABAAMAAAACAAMAAAAEAAMAAAACAP///////wQAAQD///////8FAAAABAAQAAsuRguZ8kAOQ7zBfTH1cNH1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zaLR8Z8HUWOhhCQilFPyAREYXRhAAUAAAAAAk5hbWUADQAAAExpbmtEYXRhTGlzdAAQVmVyc2lvbgAAAAAACUxhc3RXcml0ZQBK4XQ/lwEAAAABAP////9hAGEAAAAFX2lkABAAAAAEXlEhiaVKsEGD/TsiC0EJewREYXRhAAUAAAAAAk5hbWUADQAAAExpbmtEYXRhTGlzdAAQVmVyc2lvbgABAAAACUxhc3RXcml0ZQBQ4XQ/lwEAAAACAP////9wAHAAAAAFX2lkABAAAAAELkYLmfJADkO8wX0x9XDR9QNEYXRhABYAAAACUGVyc29uYWxJZAABAAAAAAACTmFtZQALAAAAUGVyc29uYWxJZAAQVmVyc2lvbgAAAAAACUxhc3RXcml0ZQBv4XQ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139985435"/>
  <p:tag name="EMPOWERCHARTSPROPERTIES_B_LENGTH" val="24576"/>
  <p:tag name="DOWN_MIGRATION_INITIAL_LAYOUT_REQUIRED" val="9.2.99"/>
  <p:tag name="RUNTIME_ID" val="b9e1c250-8d32-46a4-8b74-505483c82b3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2BcRLnRF3RCtGuVdej74lMEAAAAAAADAAAAAAADAAAAAwADAAAAAAADAAAABAADAAAAAAADAAAABAADAAAAAAD///////8DAAAAAAD///////8DAAEA////////BQAAAAMAEAALWk0Hznsr5UOiGmp53VCK0AQAAAABAAMAAAACAAMAAAAEAAQAAwD///////8FAAAABAAQAAusHarUD9p1SrAO5zox3p63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FxEudEXdEK0a5V16PviUwREYXRhAAUAAAAAAk5hbWUADQAAAExpbmtEYXRhTGlzdAAQVmVyc2lvbgAAAAAACUxhc3RXcml0ZQCZ4XQ/lwEAAAABAP////9hAGEAAAAFX2lkABAAAAAEWk0Hznsr5UOiGmp53VCK0AREYXRhAAUAAAAAAk5hbWUADQAAAExpbmtEYXRhTGlzdAAQVmVyc2lvbgABAAAACUxhc3RXcml0ZQCd4XQ/lwEAAAACAP////9wAHAAAAAFX2lkABAAAAAErB2q1A/adUqwDuc6Md6etwNEYXRhABYAAAACUGVyc29uYWxJZAABAAAAAAACTmFtZQALAAAAUGVyc29uYWxJZAAQVmVyc2lvbgAAAAAACUxhc3RXcml0ZQDJ4XQ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AEAAAAAAAFAAAAAAAFAAAAAwAFAAAAAAD///////8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140928293"/>
  <p:tag name="EMPOWERCHARTSPROPERTIES_B_LENGTH" val="24576"/>
  <p:tag name="DOWN_MIGRATION_INITIAL_LAYOUT_REQUIRED" val="9.2.99"/>
  <p:tag name="RUNTIME_ID" val="82ee4f87-da8f-4944-a6d2-764387b600e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ho5xsda3NIrRXQ5il50acEAAAAAAADAAAAAAADAAAABAADAAAAAAD///////8DAAAAAAD///////8DAAEA////////BQAAAAMAEAALHeaDrO1QU02eBIisUkZRwgQAAAABAAMAAAAEAAMAAAABAAQAAQD///////8FAAAABAAQAAtPQUs7FTdkRqc9Mi3vwaa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GjnGx1rc0itFdDmKXnRpwREYXRhAAUAAAAAAk5hbWUADQAAAExpbmtEYXRhTGlzdAAQVmVyc2lvbgAAAAAACUxhc3RXcml0ZQAJ4nQ/lwEAAAABAP////9hAGEAAAAFX2lkABAAAAAEHeaDrO1QU02eBIisUkZRwgREYXRhAAUAAAAAAk5hbWUADQAAAExpbmtEYXRhTGlzdAAQVmVyc2lvbgABAAAACUxhc3RXcml0ZQAQ4nQ/lwEAAAACAP////9wAHAAAAAFX2lkABAAAAAET0FLOxU3ZEanPTIt78GmkQNEYXRhABYAAAACUGVyc29uYWxJZAABAAAAAAACTmFtZQALAAAAUGVyc29uYWxJZAAQVmVyc2lvbgAAAAAACUxhc3RXcml0ZQA44nQ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142105157"/>
  <p:tag name="EMPOWERCHARTSPROPERTIES_B_LENGTH" val="24576"/>
  <p:tag name="DOWN_MIGRATION_INITIAL_LAYOUT_REQUIRED" val="9.2.99"/>
  <p:tag name="RUNTIME_ID" val="28635ea2-85de-4ea2-818d-cbfc42fe418f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euULjvM+5PglzTo09hbv0EAAAAAAADAAAABAADAAAAAwADAAEA////////BQAAAAMAEAALelCo04nCG0uFLiXN+ALDnQQAAAABAAMAAAACAAMAAAABAAQAAQD///////8FAAAABAAQAAvzi1eyWc4eTIWtiAzQ1Xkc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65QuO8z7k+CXNOjT2Fu/QREYXRhAAUAAAAAAk5hbWUADQAAAExpbmtEYXRhTGlzdAAQVmVyc2lvbgABAAAACUxhc3RXcml0ZQB44nQ/lwEAAAABAP////9hAGEAAAAFX2lkABAAAAAEelCo04nCG0uFLiXN+ALDnQREYXRhAAUAAAAAAk5hbWUADQAAAExpbmtEYXRhTGlzdAAQVmVyc2lvbgAAAAAACUxhc3RXcml0ZQB14nQ/lwEAAAACAP////9wAHAAAAAFX2lkABAAAAAE84tXslnOHkyFrYgM0NV5HANEYXRhABYAAAACUGVyc29uYWxJZAABAAAAAAACTmFtZQALAAAAUGVyc29uYWxJZAAQVmVyc2lvbgAAAAAACUxhc3RXcml0ZQCc4nQ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143045912"/>
  <p:tag name="EMPOWERCHARTSPROPERTIES_B_LENGTH" val="24576"/>
  <p:tag name="DOWN_MIGRATION_INITIAL_LAYOUT_REQUIRED" val="9.2.99"/>
  <p:tag name="RUNTIME_ID" val="26766d7c-e38e-4b34-ad4b-511c5a208b0c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9U/dThpIVRDpRa0q0PX2lMEAAAAAAADAAAABAADAAAAAwADAAAAAAADAAAAAwADAAAAAAD///////8DAAIA////////BQAAAAMAEAALB1Wa4gdUZ0aEHdNR8QXxqgQAAAABAAMAAAACAAMAAAABAAMAAAACAP///////wQAAQD///////8FAAAABAAQAAtcZiAY+xveRZkkuDOJmyo7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1T91OGkhVEOlFrSrQ9faUwREYXRhAAUAAAAAAk5hbWUADQAAAExpbmtEYXRhTGlzdAAQVmVyc2lvbgABAAAACUxhc3RXcml0ZQCUDXU/lwEAAAABAP////9hAGEAAAAFX2lkABAAAAAEB1Wa4gdUZ0aEHdNR8QXxqgREYXRhAAUAAAAAAk5hbWUADQAAAExpbmtEYXRhTGlzdAAQVmVyc2lvbgAAAAAACUxhc3RXcml0ZQCTDXU/lwEAAAACAP////9wAHAAAAAFX2lkABAAAAAEXGYgGPsb3kWZJLgziZsqOwNEYXRhABYAAAACUGVyc29uYWxJZAABAAAAAAACTmFtZQALAAAAUGVyc29uYWxJZAAQVmVyc2lvbgAAAAAACUxhc3RXcml0ZQCvDX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D///////8FAAAAAA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3257996"/>
  <p:tag name="EMPOWERCHARTSPROPERTIES_B_LENGTH" val="24576"/>
  <p:tag name="DOWN_MIGRATION_INITIAL_LAYOUT_REQUIRED" val="9.2.99"/>
  <p:tag name="RUNTIME_ID" val="e59b32fa-cd21-43df-992d-5da7ad745e2b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UvMDCSrutCjwf4botXfvcEAAAAAAADAAAAAAADAAAAAwADAAAAAAADAAAABAADAAEA////////BQAAAAMAEAALCzrOqyYkg0WUevUVkpNzygQAAAABAAMAAAACAAMAAAAEAAQAAgD///////8FAAAABAAQAAs4AEK+25+QQbet1Ccez/Xn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S8wMJKu60KPB/hui1d+9wREYXRhAAUAAAAAAk5hbWUADQAAAExpbmtEYXRhTGlzdAAQVmVyc2lvbgAAAAAACUxhc3RXcml0ZQDjDXU/lwEAAAABAP////9hAGEAAAAFX2lkABAAAAAECzrOqyYkg0WUevUVkpNzygREYXRhAAUAAAAAAk5hbWUADQAAAExpbmtEYXRhTGlzdAAQVmVyc2lvbgABAAAACUxhc3RXcml0ZQDjDXU/lwEAAAACAP////9wAHAAAAAFX2lkABAAAAAEOABCvtufkEG3rdQnHs/15wNEYXRhABYAAAACUGVyc29uYWxJZAABAAAAAAACTmFtZQALAAAAUGVyc29uYWxJZAAQVmVyc2lvbgAAAAAACUxhc3RXcml0ZQAJDn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4173007"/>
  <p:tag name="EMPOWERCHARTSPROPERTIES_B_LENGTH" val="24576"/>
  <p:tag name="DOWN_MIGRATION_INITIAL_LAYOUT_REQUIRED" val="9.2.99"/>
  <p:tag name="RUNTIME_ID" val="07c71828-fb0a-479b-9d62-0a692f3b201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FTTQSfYLlMsnFSllGoM/kEAAAAAAADAAAAAAADAAAABAADAAAAAAADAAAABAADAAQA////////BQAAAAMAEAALyyKOPmp+EkqzhIlMfnxUIAQAAAABAAMAAAAEAAMAAAABAAMAAAAEAP///////wMAAAAAAP///////wMAAAAAAP///////wQAAgD///////8FAAAABAAQAAuIITwpQFtvQLgwrgUmLky+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VNNBJ9guUyycVKWUagz+QREYXRhAAUAAAAAAk5hbWUADQAAAExpbmtEYXRhTGlzdAAQVmVyc2lvbgABAAAACUxhc3RXcml0ZQA+DnU/lwEAAAABAP////9hAGEAAAAFX2lkABAAAAAEyyKOPmp+EkqzhIlMfnxUIAREYXRhAAUAAAAAAk5hbWUADQAAAExpbmtEYXRhTGlzdAAQVmVyc2lvbgAAAAAACUxhc3RXcml0ZQA5DnU/lwEAAAACAP////9wAHAAAAAFX2lkABAAAAAEiCE8KUBbb0C4MK4FJi5MvgNEYXRhABYAAAACUGVyc29uYWxJZAABAAAAAAACTmFtZQALAAAAUGVyc29uYWxJZAAQVmVyc2lvbgAAAAAACUxhc3RXcml0ZQBcDn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QBAwAAAAMA////////DgAGTGlua0RhdGFMaXN0XzAEAAAAAQAFAAAAAAAFAAAAAg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4936821"/>
  <p:tag name="EMPOWERCHARTSPROPERTIES_B_LENGTH" val="24576"/>
  <p:tag name="DOWN_MIGRATION_INITIAL_LAYOUT_REQUIRED" val="9.2.99"/>
  <p:tag name="RUNTIME_ID" val="13b84057-1379-403a-8429-f36be47a444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YBAQEBAQEBAQEBAQEBAQMAAAAAAAAAAwAAAAMAAAAA/////wUA8gsAAAAAAAAAAAAAIAD///////////////8AAAD////////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2zcn/yqTdFpoZiwhKCYbkEAAAAAAADAAAABAADAAAAAwADAAQA////////BQAAAAMAEAALH6zYlGQ9IkyLdT07781y+AQAAAABAAMAAAACAAMAAAABAAMAAAAAAP///////wMAAAAAAP///////wMAAAAAAP///////wQAAQD///////8FAAAABAAQAAuyyR9stf6VRbq4Bnhtyn4F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bNyf/KpN0WmhmLCEoJhuQREYXRhAAUAAAAAAk5hbWUADQAAAExpbmtEYXRhTGlzdAAQVmVyc2lvbgAAAAAACUxhc3RXcml0ZQCGDnU/lwEAAAABAP////9hAGEAAAAFX2lkABAAAAAEH6zYlGQ9IkyLdT07781y+AREYXRhAAUAAAAAAk5hbWUADQAAAExpbmtEYXRhTGlzdAAQVmVyc2lvbgABAAAACUxhc3RXcml0ZQCLDnU/lwEAAAACAP////9wAHAAAAAFX2lkABAAAAAEsskfbLX+lUW6uAZ4bcp+BQNEYXRhABYAAAACUGVyc29uYWxJZAABAAAAAAACTmFtZQALAAAAUGVyc29uYWxJZAAQVmVyc2lvbgAAAAAACUxhc3RXcml0ZQCqDn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DAP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AFAAAABAAFAAAAAAAFAAAABAAFAAAAAAAFAAAABAAEAAYBAwAAAAQA////////DAAGUGVyc29uYWxJZF8wBAAAAAIABQAAAAMABQAAAAEABQAAAAMA////////BQAAAAMA////////BQAAAAM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5720189"/>
  <p:tag name="EMPOWERCHARTSPROPERTIES_B_LENGTH" val="24576"/>
  <p:tag name="DOWN_MIGRATION_INITIAL_LAYOUT_REQUIRED" val="9.2.99"/>
  <p:tag name="RUNTIME_ID" val="57402403-266e-4a79-b27e-11371e4b2b9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uqhCmOleVPkMGFmO3UMDQEAAAAAAADAAAAAAADAAAABAADAAIA////////BQAAAAMAEAALjSDG1LlJFEGKz6OG3bBj4AQAAAABAAMAAAAEAAMAAAABAAMAAAAAAP///////wQAAQD///////8FAAAABAAQAAvqETuMG6VmRIycmNfSowG+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S6qEKY6V5U+QwYWY7dQwNAREYXRhAAUAAAAAAk5hbWUADQAAAExpbmtEYXRhTGlzdAAQVmVyc2lvbgABAAAACUxhc3RXcml0ZQDhDnU/lwEAAAABAP////9hAGEAAAAFX2lkABAAAAAEjSDG1LlJFEGKz6OG3bBj4AREYXRhAAUAAAAAAk5hbWUADQAAAExpbmtEYXRhTGlzdAAQVmVyc2lvbgAAAAAACUxhc3RXcml0ZQDaDnU/lwEAAAACAP////9wAHAAAAAFX2lkABAAAAAE6hE7jBulZkSMnJjX0qMBvgNEYXRhABYAAAACUGVyc29uYWxJZAABAAAAAAACTmFtZQALAAAAUGVyc29uYWxJZAAQVmVyc2lvbgAAAAAACUxhc3RXcml0ZQADD3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6678381"/>
  <p:tag name="EMPOWERCHARTSPROPERTIES_B_LENGTH" val="24576"/>
  <p:tag name="DOWN_MIGRATION_INITIAL_LAYOUT_REQUIRED" val="9.2.99"/>
  <p:tag name="RUNTIME_ID" val="34bdf887-a557-45a5-a4f0-a4d53efbfb2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/////wUAqgsAAAAAAAAAAAAAIAD///////////////8AAAD///////////////8DAAAAAgD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PNszOJeahMl68lTDcf3VIEAAAAAAADAAAAAAADAAAABAADAAAAAAADAAAABAADAAgA////////BQAAAAMAEAALnfdNPAvaNUC+GoAoAebMPwQAAAABAAMAAAAEAAMAAAABAAMAAAAEAP///////wMAAAAAAP///////wMAAAAAAP///////wMAAAAAAP///////wMAAAAAAP///////wMAAAAAAP///////wMAAAAAAP///////wQAAgD///////8FAAAABAAQAAshKcczVEUHQaQbYy7uVyYP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82zM4l5qEyXryVMNx/dUgREYXRhAAUAAAAAAk5hbWUADQAAAExpbmtEYXRhTGlzdAAQVmVyc2lvbgAAAAAACUxhc3RXcml0ZQA4D3U/lwEAAAABAP////9hAGEAAAAFX2lkABAAAAAEnfdNPAvaNUC+GoAoAebMPwREYXRhAAUAAAAAAk5hbWUADQAAAExpbmtEYXRhTGlzdAAQVmVyc2lvbgABAAAACUxhc3RXcml0ZQA7D3U/lwEAAAACAP////9wAHAAAAAFX2lkABAAAAAEISnHM1RFB0GkG2Mu7lcmDwNEYXRhABYAAAACUGVyc29uYWxJZAABAAAAAAACTmFtZQALAAAAUGVyc29uYWxJZAAQVmVyc2lvbgAAAAAACUxhc3RXcml0ZQBcD3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gBAwAAAAMA////////DgAGTGlua0RhdGFMaXN0XzEEAAAAAQAFAAAAAgAFAAAABAAFAAAAAgD///////8FAAAAAAD///////8FAAAAAAD///////8FAAAAAA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7506641"/>
  <p:tag name="EMPOWERCHARTSPROPERTIES_B_LENGTH" val="24576"/>
  <p:tag name="DOWN_MIGRATION_INITIAL_LAYOUT_REQUIRED" val="9.2.99"/>
  <p:tag name="RUNTIME_ID" val="3b0f4037-8cb1-4c30-b12e-925bb5c6b9f9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kBAQEBAQEBAQEBAQEBAQMAAAAAAAAAAwAAAAMAAAAA/////wUAtgsAAAAAAAAAAAAAIAD///////////////8AAAD///////////////8DAAAAAgD///////8DAAAAAwD///////8DAAAAAw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x8RmtR1PVIrYZvpYvWGTIEAAAAAAADAAAAAAADAAAABAADAAkA////////BQAAAAMAEAALfLSI8akuH0e+fNWlc/X6cgQAAAABAAMAAAAEAAMAAAABAAMAAAAAAP///////wMAAAAAAP///////wMAAAAAAP///////wMAAAAAAP///////wMAAAAAAP///////wMAAAAAAP///////wMAAAAAAP///////wMAAAAAAP///////wQAAQD///////8FAAAABAAQAAvJXOpzv1NcRJfObg3oYP8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HxGa1HU9Uithm+li9YZMgREYXRhAAUAAAAAAk5hbWUADQAAAExpbmtEYXRhTGlzdAAQVmVyc2lvbgAAAAAACUxhc3RXcml0ZQCFD3U/lwEAAAABAP////9hAGEAAAAFX2lkABAAAAAEfLSI8akuH0e+fNWlc/X6cgREYXRhAAUAAAAAAk5hbWUADQAAAExpbmtEYXRhTGlzdAAQVmVyc2lvbgABAAAACUxhc3RXcml0ZQCRD3U/lwEAAAACAP////9wAHAAAAAFX2lkABAAAAAEyVzqc79TXESXzm4N6GD/CANEYXRhABYAAAACUGVyc29uYWxJZAABAAAAAAACTmFtZQALAAAAUGVyc29uYWxJZAAQVmVyc2lvbgAAAAAACUxhc3RXcml0ZQCxD3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DAP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kBAwAAAAMA////////DgAGTGlua0RhdGFMaXN0XzEEAAAAAQAFAAAAAgAFAAAABAAFAAAAAAD///////8FAAAAAAD///////8FAAAAAAD///////8FAAAAAAD///////8FAAAAAA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8430235"/>
  <p:tag name="EMPOWERCHARTSPROPERTIES_B_LENGTH" val="24576"/>
  <p:tag name="DOWN_MIGRATION_INITIAL_LAYOUT_REQUIRED" val="9.2.99"/>
  <p:tag name="RUNTIME_ID" val="4450f01b-9312-44e1-92a3-01b8e380cfeb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zgs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+RKv2E6zE9MpXaUOIcespcEAAAAAAADAAAAAAADAAAAAwADAAAAAAADAAAABAADAAAAAAD///////8DAAAAAAD///////8DAAAAAAD///////8DAAAAAAD///////8DAAEA////////BQAAAAMAEAALypqktIAE3EuXEJ/CAz9w0gQAAAABAAMAAAACAAMAAAAEAAQAAgD///////8FAAAABAAQAAuorgf0UZmwRa9KlOwJe+zJ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5Eq/YTrMT0yldpQ4hx6ylwREYXRhAAUAAAAAAk5hbWUADQAAAExpbmtEYXRhTGlzdAAQVmVyc2lvbgAAAAAACUxhc3RXcml0ZQD3D3U/lwEAAAABAP////9hAGEAAAAFX2lkABAAAAAEypqktIAE3EuXEJ/CAz9w0gREYXRhAAUAAAAAAk5hbWUADQAAAExpbmtEYXRhTGlzdAAQVmVyc2lvbgABAAAACUxhc3RXcml0ZQD6D3U/lwEAAAACAP////9wAHAAAAAFX2lkABAAAAAEqK4H9FGZsEWvSpTsCXvsyQNEYXRhABYAAAACUGVyc29uYWxJZAABAAAAAAACTmFtZQALAAAAUGVyc29uYWxJZAAQVmVyc2lvbgAAAAAACUxhc3RXcml0ZQAXEH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AEAAAAAAAFAAAAAAAFAAAAAwAFAAAAAAD///////8FAAAAAAD///////8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59388730"/>
  <p:tag name="EMPOWERCHARTSPROPERTIES_B_LENGTH" val="24576"/>
  <p:tag name="DOWN_MIGRATION_INITIAL_LAYOUT_REQUIRED" val="9.2.99"/>
  <p:tag name="RUNTIME_ID" val="c3c86975-17b3-4fe2-a5ed-f771f91523f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BA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yARyX6F/hPiWci9C92iBcEAAAAAAADAAAAAAADAAAABAADAAMA////////BQAAAAMAEAALZGpAiTEtSEmMrviLXAvE0QQAAAABAAMAAAAEAAMAAAABAAMAAAAEAP///////wMAAAAAAP///////wQAAgD///////8FAAAABAAQAAscmSEoRqFOR4W5I5S1f+Yj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TIBHJfoX+E+JZyL0L3aIFwREYXRhAAUAAAAAAk5hbWUADQAAAExpbmtEYXRhTGlzdAAQVmVyc2lvbgABAAAACUxhc3RXcml0ZQBHEHU/lwEAAAABAP////9hAGEAAAAFX2lkABAAAAAEZGpAiTEtSEmMrviLXAvE0QREYXRhAAUAAAAAAk5hbWUADQAAAExpbmtEYXRhTGlzdAAQVmVyc2lvbgAAAAAACUxhc3RXcml0ZQBEEHU/lwEAAAACAP////9wAHAAAAAFX2lkABAAAAAEHJkhKEahTkeFuSOUtX/mIwNEYXRhABYAAAACUGVyc29uYWxJZAABAAAAAAACTmFtZQALAAAAUGVyc29uYWxJZAAQVmVyc2lvbgAAAAAACUxhc3RXcml0ZQBnEH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60265494"/>
  <p:tag name="EMPOWERCHARTSPROPERTIES_B_LENGTH" val="24576"/>
  <p:tag name="DOWN_MIGRATION_INITIAL_LAYOUT_REQUIRED" val="9.2.99"/>
  <p:tag name="RUNTIME_ID" val="8bb12a20-1663-48b2-8b60-b4606fda3d1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WX6wlYm/pLmeMrchjUe98EAAAAAAADAAAAAAADAAAABAADAAAAAAADAAAAAwADAAMA////////BQAAAAMAEAAL+6Erhd0coEua4v4sKHOQpQQAAAABAAMAAAAEAAMAAAABAAMAAAACAP///////wMAAAAAAP///////wQAAQD///////8FAAAABAAQAAsiJ7MYcUEESoVg8AT+sz0k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ZfrCVib+kuZ4ytyGNR73wREYXRhAAUAAAAAAk5hbWUADQAAAExpbmtEYXRhTGlzdAAQVmVyc2lvbgAAAAAACUxhc3RXcml0ZQCZEHU/lwEAAAABAP////9hAGEAAAAFX2lkABAAAAAE+6Erhd0coEua4v4sKHOQpQREYXRhAAUAAAAAAk5hbWUADQAAAExpbmtEYXRhTGlzdAAQVmVyc2lvbgABAAAACUxhc3RXcml0ZQCaEHU/lwEAAAACAP////9wAHAAAAAFX2lkABAAAAAEIiezGHFBBEqFYPAE/rM9JANEYXRhABYAAAACUGVyc29uYWxJZAABAAAAAAACTmFtZQALAAAAUGVyc29uYWxJZAAQVmVyc2lvbgAAAAAACUxhc3RXcml0ZQC4EHU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MBAwAAAAMA////////DgAGTGlua0RhdGFMaXN0XzEEAAAAAQAFAAAAAgAFAAAABAAFAAAAAgAFAAAABAAFAAAAAA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1261034770"/>
  <p:tag name="EMPOWERCHARTSPROPERTIES_B_LENGTH" val="24576"/>
  <p:tag name="DOWN_MIGRATION_INITIAL_LAYOUT_REQUIRED" val="9.2.99"/>
  <p:tag name="RUNTIME_ID" val="c4ae6734-25d2-4ca8-96cb-42c6e1f3d7bc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4kE663IutFutjAsOugAmkEAAAAAAADAAAABAADAAAAAwADAAEA////////BQAAAAMAEAALQt93+ZUiV0yKiP19Y/CEzgQAAAABAAMAAAACAAMAAAABAAQAAQD///////8FAAAABAAQAAvk2vAsI5p6T6QviicU3sN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iQTrrci60W62MCw66ACaQREYXRhAAUAAAAAAk5hbWUADQAAAExpbmtEYXRhTGlzdAAQVmVyc2lvbgABAAAACUxhc3RXcml0ZQALKXc/lwEAAAABAP////9hAGEAAAAFX2lkABAAAAAEQt93+ZUiV0yKiP19Y/CEzgREYXRhAAUAAAAAAk5hbWUADQAAAExpbmtEYXRhTGlzdAAQVmVyc2lvbgAAAAAACUxhc3RXcml0ZQALKXc/lwEAAAACAP////9wAHAAAAAFX2lkABAAAAAE5NrwLCOaek+kL4onFN7DYgNEYXRhABYAAAACUGVyc29uYWxJZAABAAAAAAACTmFtZQALAAAAUGVyc29uYWxJZAAQVmVyc2lvbgAAAAAACUxhc3RXcml0ZQAlKXc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634352920"/>
  <p:tag name="EMPOWERCHARTSPROPERTIES_B_LENGTH" val="24576"/>
  <p:tag name="DOWN_MIGRATION_INITIAL_LAYOUT_REQUIRED" val="9.2.99"/>
  <p:tag name="RUNTIME_ID" val="44d5b828-db03-432e-921d-a0601f2c5d8c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07191b3-a43e-40f1-91c3-dab71da7e22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gMhlFeXXJCguDq/ug28mgEAAAAAAADAAAAAAADAAAAAwADAAEA////////BQAAAAMAEAALXbjhnBpfFEOLYC8iX4eBoQQAAAABAAMAAAACAAMAAAAEAAQAAQD///////8FAAAABAAQAAuL6+jFAtgKTZC2m/4iuEE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CAyGUV5dckKC4Or+6DbyaANEYXRhABYAAAACUGVyc29uYWxJZAABAAAAAAACTmFtZQALAAAAUGVyc29uYWxJZAAQVmVyc2lvbgAAAAAACUxhc3RXcml0ZQAxRFpNlQEAAAABAP////9hAGEAAAAFX2lkABAAAAAEXbjhnBpfFEOLYC8iX4eBoQREYXRhAAUAAAAAAk5hbWUADQAAAExpbmtEYXRhTGlzdAAQVmVyc2lvbgABAAAACUxhc3RXcml0ZQBeKXc/lwEAAAACAP////9hAGEAAAAFX2lkABAAAAAEi+voxQLYCk2Qtpv+IrhBIQREYXRhAAUAAAAAAk5hbWUADQAAAExpbmtEYXRhTGlzdAAQVmVyc2lvbgAAAAAACUxhc3RXcml0ZQBbKXc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MABQAAAAEAAwABAQMAAAADAP///////w4ABkxpbmtEYXRhTGlzdF8xBAAAAAEABQAAAAQABQAAAAIABAABAQMAAAAEAP///////w4ABkxpbmtEYXRhTGlzdF8wBAAAAAI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634849015"/>
  <p:tag name="EMPOWERCHARTSPROPERTIES_B_LENGTH" val="24576"/>
  <p:tag name="DOWN_MIGRATION_INITIAL_LAYOUT_REQUIRED" val="9.2.9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4bca720-385d-43bf-97b7-4131246887b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k4cq/Yr2tMnXY7ABbxpe0EAAAAAAADAAAAAAADAAAAAwADAAAAAAD///////8DAAEA////////BQAAAAMAEAALcDHiu3Ir40aTFL2EfyX1bAQAAAABAAMAAAACAAMAAAAEAAQAAQD///////8FAAAABAAQAAuEjCTM+EWTS6bo6EVn9Tg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Thyr9iva0yddjsAFvGl7QREYXRhAAUAAAAAAk5hbWUADQAAAExpbmtEYXRhTGlzdAAQVmVyc2lvbgAAAAAACUxhc3RXcml0ZQCPKXc/lwEAAAABAP////9wAHAAAAAFX2lkABAAAAAEcDHiu3Ir40aTFL2EfyX1bANEYXRhABYAAAACUGVyc29uYWxJZAABAAAAAAACTmFtZQALAAAAUGVyc29uYWxJZAAQVmVyc2lvbgAAAAAACUxhc3RXcml0ZQBURFpNlQEAAAACAP////9hAGEAAAAFX2lkABAAAAAEhIwkzPhFk0um6OhFZ/U4LAREYXRhAAUAAAAAAk5hbWUADQAAAExpbmtEYXRhTGlzdAAQVmVyc2lvbgABAAAACUxhc3RXcml0ZQCQKXc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BAAFAAAAAAD///////8DAAEBAwAAAAMA////////DAAGUGVyc29uYWxJZF8wBAAAAAEABQAAAAQABQAAAAEA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635335400"/>
  <p:tag name="EMPOWERCHARTSPROPERTIES_B_LENGTH" val="24576"/>
  <p:tag name="DOWN_MIGRATION_INITIAL_LAYOUT_REQUIRED" val="9.2.9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0ebeb4c-cc42-4b07-8a1e-2f860d58837b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t9tGK2CIJJgh7couLQ0U0EAAAAAAADAAAAAAADAAAAAwADAAEA////////BQAAAAMAEAAL1C8GkhFTfkeLyDxCqlNfPAQAAAABAAMAAAACAAMAAAAEAAQAAQD///////8FAAAABAAQAAvLbi+rutbrQKsYPWUQeeM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320YrYIgkmCHtyi4tDRTQREYXRhAAUAAAAAAk5hbWUADQAAAExpbmtEYXRhTGlzdAAQVmVyc2lvbgAAAAAACUxhc3RXcml0ZQBPKnc/lwEAAAABAP////9hAGEAAAAFX2lkABAAAAAE1C8GkhFTfkeLyDxCqlNfPAREYXRhAAUAAAAAAk5hbWUADQAAAExpbmtEYXRhTGlzdAAQVmVyc2lvbgABAAAACUxhc3RXcml0ZQBSKnc/lwEAAAACAP////9wAHAAAAAFX2lkABAAAAAEy24vq7rW60CrGD1lEHnjBgNEYXRhABYAAAACUGVyc29uYWxJZAABAAAAAAACTmFtZQALAAAAUGVyc29uYWxJZAAQVmVyc2lvbgAAAAAACUxhc3RXcml0ZQB2RFp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637293193"/>
  <p:tag name="EMPOWERCHARTSPROPERTIES_B_LENGTH" val="24576"/>
  <p:tag name="DOWN_MIGRATION_INITIAL_LAYOUT_REQUIRED" val="9.2.99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1c53584-15f4-4e99-8d90-1e2c60c488fc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AiElTtBqhIkNBgzNeRKtcEAAAAAAADAAAAAAADAAAAAwADAAAAAAADAAAAAwADAAIA////////BQAAAAMAEAAL9WW/jVuupkWW2dRyUku4QAQAAAABAAMAAAACAAMAAAAEAAMAAAACAP///////wQAAQD///////8FAAAABAAQAAvehbjZ0dToS6OuZz2NdabW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CISVO0GqEiQ0GDM15Eq1wREYXRhAAUAAAAAAk5hbWUADQAAAExpbmtEYXRhTGlzdAAQVmVyc2lvbgABAAAACUxhc3RXcml0ZQCDKnc/lwEAAAABAP////9hAGEAAAAFX2lkABAAAAAE9WW/jVuupkWW2dRyUku4QAREYXRhAAUAAAAAAk5hbWUADQAAAExpbmtEYXRhTGlzdAAQVmVyc2lvbgAAAAAACUxhc3RXcml0ZQCAKnc/lwEAAAACAP////9wAHAAAAAFX2lkABAAAAAE3oW42dHU6Eujrmc9jXWm1gNEYXRhABYAAAACUGVyc29uYWxJZAABAAAAAAACTmFtZQALAAAAUGVyc29uYWxJZAAQVmVyc2lvbgAAAAAACUxhc3RXcml0ZQAmOVpN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637796184"/>
  <p:tag name="EMPOWERCHARTSPROPERTIES_B_LENGTH" val="24576"/>
  <p:tag name="DOWN_MIGRATION_INITIAL_LAYOUT_REQUIRED" val="9.2.9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0qsP40AMFBLvlWzFfq1aGIEAAAAAAADAAAABAADAAAAAwADAAAABAD///////8DAAAAAAD///////8DAAEA////////BQAAAAMAEAALPjqalvWk3Eins9aFOuOGhgQAAAABAAMAAAACAAMAAAABAAQAAgD///////8FAAAABAAQAAt0JuZaUDG6Q4WuLCfCrLz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Sqw/jQAwUEu+VbMV+rVoYgREYXRhAAUAAAAAAk5hbWUADQAAAExpbmtEYXRhTGlzdAAQVmVyc2lvbgAAAAAACUxhc3RXcml0ZQCyKnc/lwEAAAABAP////9hAGEAAAAFX2lkABAAAAAEPjqalvWk3Eins9aFOuOGhgREYXRhAAUAAAAAAk5hbWUADQAAAExpbmtEYXRhTGlzdAAQVmVyc2lvbgABAAAACUxhc3RXcml0ZQCyKnc/lwEAAAACAP////9wAHAAAAAFX2lkABAAAAAEdCbmWlAxukOFriwnwqy84QNEYXRhABYAAAACUGVyc29uYWxJZAABAAAAAAACTmFtZQALAAAAUGVyc29uYWxJZAAQVmVyc2lvbgAAAAAACUxhc3RXcml0ZQDMKnc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BAAFAAAAAAD///////8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638501378"/>
  <p:tag name="EMPOWERCHARTSPROPERTIES_B_LENGTH" val="24576"/>
  <p:tag name="DOWN_MIGRATION_INITIAL_LAYOUT_REQUIRED" val="9.2.99"/>
  <p:tag name="RUNTIME_ID" val="919073a6-0e10-4005-a912-e74af143ff2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869ea48-5835-488c-ad88-799213572fc9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RVQYfBGblAvHhFsMewr2sEAAAAAAADAAAAAAADAAAAAwADAAIA////////BQAAAAMAEAALBBUernDuQUqrOgSQybDn6wQAAAABAAMAAAACAAMAAAAEAAMAAAAAAP///////wQAAQD///////8FAAAABAAQAAvYfWD2pfRzT5HSeRx20wQ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xFVBh8EZuUC8eEWwx7CvawNEYXRhABYAAAACUGVyc29uYWxJZAABAAAAAAACTmFtZQALAAAAUGVyc29uYWxJZAAQVmVyc2lvbgAAAAAACUxhc3RXcml0ZQD6OFpNlQEAAAABAP////9hAGEAAAAFX2lkABAAAAAEBBUernDuQUqrOgSQybDn6wREYXRhAAUAAAAAAk5hbWUADQAAAExpbmtEYXRhTGlzdAAQVmVyc2lvbgAAAAAACUxhc3RXcml0ZQD3Knc/lwEAAAACAP////9hAGEAAAAFX2lkABAAAAAE2H1g9qX0c0+R0nkcdtMECAREYXRhAAUAAAAAAk5hbWUADQAAAExpbmtEYXRhTGlzdAAQVmVyc2lvbgABAAAACUxhc3RXcml0ZQD3Knc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QABQAAAAEAAwACAQMAAAADAP///////w4ABkxpbmtEYXRhTGlzdF8wBAAAAAEABQAAAAAABQAAAAQABQAAAAAA////////BAABAQMAAAAEAP///////w4ABkxpbmtEYXRhTGlzdF8xBAAAAAI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2638921610"/>
  <p:tag name="EMPOWERCHARTSPROPERTIES_B_LENGTH" val="24576"/>
  <p:tag name="DOWN_MIGRATION_INITIAL_LAYOUT_REQUIRED" val="9.2.9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6LhiPz0+BKgAHHTQDnKDIEAAAAAAADAAAAAAADAAAAAwADAAQA////////BQAAAAMAEAALwnupNqjVgE2wVH9OY6Oa+QQAAAABAAMAAAACAAMAAAAEAAMAAAAAAAMAAAAEAAMAAAAAAAMAAAAEAAMAAAAAAP///////wQAAwD///////8FAAAABAAQAAtxWSSD6rfoSKSerrp3HPvB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ouGI/PT4EqAAcdNAOcoMgREYXRhAAUAAAAAAk5hbWUADQAAAExpbmtEYXRhTGlzdAAQVmVyc2lvbgAAAAAACUxhc3RXcml0ZQDx1Hc/lwEAAAABAP////9hAGEAAAAFX2lkABAAAAAEwnupNqjVgE2wVH9OY6Oa+QREYXRhAAUAAAAAAk5hbWUADQAAAExpbmtEYXRhTGlzdAAQVmVyc2lvbgABAAAACUxhc3RXcml0ZQDx1Hc/lwEAAAACAP////9wAHAAAAAFX2lkABAAAAAEcVkkg+q36Eiknq66dxz7wQNEYXRhABYAAAACUGVyc29uYWxJZAABAAAAAAACTmFtZQALAAAAUGVyc29uYWxJZAAQVmVyc2lvbgAAAAAACUxhc3RXcml0ZQAV1Xc/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47133074416125"/>
  <p:tag name="EMPOWERCHARTSPROPERTIES_B_LENGTH" val="24576"/>
  <p:tag name="DOWN_MIGRATION_INITIAL_LAYOUT_REQUIRED" val="9.2.99"/>
  <p:tag name="RUNTIME_ID" val="f1047f60-8d4b-46d3-b465-a93f808b9589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+lbY/lik1Hl8Dd5w3+Nz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+lbY/lik1Hl8Dd5w3+Nz0DRGF0YQAWAAAAAlBlcnNvbmFsSWQAAQAAAAAAAk5hbWUACwAAAFBlcnNvbmFsSWQAEFZlcnNpb24AAAAAAAlMYXN0V3JpdGUAWUa0pJ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218328212525"/>
  <p:tag name="EMPOWERCHARTSPROPERTIES_A_LENGTH" val="24576"/>
  <p:tag name="RUNTIME_ID" val="24094b49-e822-4339-b4b5-969e16fd7d3c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twt6D/cbVFn4nUkDtpbp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twt6D/cbVFn4nUkDtpbpADRGF0YQAWAAAAAlBlcnNvbmFsSWQAAQAAAAAAAk5hbWUACwAAAFBlcnNvbmFsSWQAEFZlcnNpb24AAAAAAAlMYXN0V3JpdGUAzTW0pJ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218286049759"/>
  <p:tag name="EMPOWERCHARTSPROPERTIES_A_LENGTH" val="24576"/>
  <p:tag name="RUNTIME_ID" val="7d006b7d-90ba-40fc-98ba-a4ec83da4b5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jqmIfBME5Jj8e/iYkwGw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jqmIfBME5Jj8e/iYkwGwsDRGF0YQAWAAAAAlBlcnNvbmFsSWQAAQAAAAAAAk5hbWUACwAAAFBlcnNvbmFsSWQAEFZlcnNpb24AAAAAAAlMYXN0V3JpdGUAJ+y/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189445447"/>
  <p:tag name="EMPOWERCHARTSPROPERTIES_A_LENGTH" val="24576"/>
  <p:tag name="RUNTIME_ID" val="6c490175-6e8b-4d6a-a20d-16bb9786358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XWxOTclntGiNB/Z/A5cj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XWxOTclntGiNB/Z/A5cjADRGF0YQAWAAAAAlBlcnNvbmFsSWQAAQAAAAAAAk5hbWUACwAAAFBlcnNvbmFsSWQAEFZlcnNpb24AAAAAAAlMYXN0V3JpdGUAWOy/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190003766"/>
  <p:tag name="EMPOWERCHARTSPROPERTIES_A_LENGTH" val="24576"/>
  <p:tag name="RUNTIME_ID" val="800ccecb-0677-4f5f-acdb-f4ea0b46272c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oo8fYGux5LqHxL9JW2f0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oo8fYGux5LqHxL9JW2f0ADRGF0YQAWAAAAAlBlcnNvbmFsSWQAAQAAAAAAAk5hbWUACwAAAFBlcnNvbmFsSWQAEFZlcnNpb24AAAAAAAlMYXN0V3JpdGUA1/y/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232378154"/>
  <p:tag name="EMPOWERCHARTSPROPERTIES_A_LENGTH" val="24576"/>
  <p:tag name="RUNTIME_ID" val="acb9f217-369e-41d3-a81c-1a3cdf6af27f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ylpkFF9+OFFhqQkyTqnEYY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pkFF9+OFFhqQkyTqnEYYDRGF0YQAWAAAAAlBlcnNvbmFsSWQAAQAAAAAAAk5hbWUACwAAAFBlcnNvbmFsSWQAEFZlcnNpb24AAAAAAAlMYXN0V3JpdGUAhey/o5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78058190459301"/>
  <p:tag name="EMPOWERCHARTSPROPERTIES_A_LENGTH" val="24576"/>
  <p:tag name="RUNTIME_ID" val="2ec2a06b-a4a7-4bb0-a0c7-0e4382f4304b"/>
</p:tagLst>
</file>

<file path=ppt/theme/theme1.xml><?xml version="1.0" encoding="utf-8"?>
<a:theme xmlns:a="http://schemas.openxmlformats.org/drawingml/2006/main" name="ctrl+s_master_V3">
  <a:themeElements>
    <a:clrScheme name="ctrl+s colors">
      <a:dk1>
        <a:srgbClr val="000000"/>
      </a:dk1>
      <a:lt1>
        <a:srgbClr val="FFFFFF"/>
      </a:lt1>
      <a:dk2>
        <a:srgbClr val="3C6DF5"/>
      </a:dk2>
      <a:lt2>
        <a:srgbClr val="FFFFFF"/>
      </a:lt2>
      <a:accent1>
        <a:srgbClr val="3C6DF5"/>
      </a:accent1>
      <a:accent2>
        <a:srgbClr val="A9A9A9"/>
      </a:accent2>
      <a:accent3>
        <a:srgbClr val="FF0000"/>
      </a:accent3>
      <a:accent4>
        <a:srgbClr val="01A634"/>
      </a:accent4>
      <a:accent5>
        <a:srgbClr val="F9D63A"/>
      </a:accent5>
      <a:accent6>
        <a:srgbClr val="000000"/>
      </a:accent6>
      <a:hlink>
        <a:srgbClr val="3C6DF5"/>
      </a:hlink>
      <a:folHlink>
        <a:srgbClr val="A9A9A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216000" tIns="72000" rIns="216000" bIns="72000" numCol="1" spcCol="38100" rtlCol="0" anchor="ctr">
        <a:noAutofit/>
      </a:bodyPr>
      <a:lstStyle>
        <a:defPPr algn="l" defTabSz="825500">
          <a:spcBef>
            <a:spcPts val="600"/>
          </a:spcBef>
          <a:spcAft>
            <a:spcPts val="600"/>
          </a:spcAft>
          <a:defRPr sz="2500" dirty="0" err="1" smtClean="0">
            <a:solidFill>
              <a:schemeClr val="tx1"/>
            </a:solidFill>
            <a:latin typeface="Aeonik" panose="020B0503030300000000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50800" tIns="50800" rIns="50800" bIns="50800" numCol="1" spcCol="38100" rtlCol="0" anchor="t">
        <a:spAutoFit/>
      </a:bodyPr>
      <a:lstStyle>
        <a:defPPr marL="0" marR="0" indent="0" algn="l" defTabSz="2438338" rtl="0" fontAlgn="auto" latinLnBrk="0" hangingPunct="0">
          <a:lnSpc>
            <a:spcPct val="110000"/>
          </a:lnSpc>
          <a:spcBef>
            <a:spcPts val="1800"/>
          </a:spcBef>
          <a:spcAft>
            <a:spcPts val="0"/>
          </a:spcAft>
          <a:buClrTx/>
          <a:buSzTx/>
          <a:buFontTx/>
          <a:buNone/>
          <a:tabLst/>
          <a:defRPr sz="2500" b="0" i="0" dirty="0" err="1" smtClean="0">
            <a:solidFill>
              <a:schemeClr val="tx1"/>
            </a:solidFill>
            <a:latin typeface="Aeonik" panose="020B0503030300000000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ctrl+s_master_V3" id="{1D02428D-255D-054B-9A17-01B38939F8FD}" vid="{6FC071E6-7C74-F245-A116-07DDEB7189F0}"/>
    </a:ext>
  </a:extLst>
</a:theme>
</file>

<file path=ppt/theme/theme10.xml><?xml version="1.0" encoding="utf-8"?>
<a:theme xmlns:a="http://schemas.openxmlformats.org/drawingml/2006/main" name="2_Default Theme">
  <a:themeElements>
    <a:clrScheme name="ctrl+s colors">
      <a:dk1>
        <a:srgbClr val="000000"/>
      </a:dk1>
      <a:lt1>
        <a:srgbClr val="FFFFFF"/>
      </a:lt1>
      <a:dk2>
        <a:srgbClr val="3C6DF5"/>
      </a:dk2>
      <a:lt2>
        <a:srgbClr val="FFFFFF"/>
      </a:lt2>
      <a:accent1>
        <a:srgbClr val="3C6DF5"/>
      </a:accent1>
      <a:accent2>
        <a:srgbClr val="A9A9A9"/>
      </a:accent2>
      <a:accent3>
        <a:srgbClr val="FF0000"/>
      </a:accent3>
      <a:accent4>
        <a:srgbClr val="01A634"/>
      </a:accent4>
      <a:accent5>
        <a:srgbClr val="F9D63A"/>
      </a:accent5>
      <a:accent6>
        <a:srgbClr val="000000"/>
      </a:accent6>
      <a:hlink>
        <a:srgbClr val="3C6DF5"/>
      </a:hlink>
      <a:folHlink>
        <a:srgbClr val="A9A9A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u="none" strike="noStrike" cap="none" spc="0" normalizeH="0" baseline="0" dirty="0" smtClean="0">
            <a:ln>
              <a:noFill/>
            </a:ln>
            <a:solidFill>
              <a:schemeClr val="tx1"/>
            </a:solidFill>
            <a:effectLst/>
            <a:uFillTx/>
            <a:latin typeface="Aeonik" panose="020B0503030300000000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t">
        <a:spAutoFit/>
      </a:bodyPr>
      <a:lstStyle>
        <a:defPPr marL="0" marR="0" indent="0" algn="l" defTabSz="2438338" rtl="0" fontAlgn="auto" latinLnBrk="0" hangingPunct="0">
          <a:lnSpc>
            <a:spcPct val="16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2500" b="0" i="0" dirty="0" smtClean="0">
            <a:solidFill>
              <a:schemeClr val="tx1"/>
            </a:solidFill>
            <a:latin typeface="Aeonik" panose="020B0503030300000000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Default Theme" id="{0905C85A-10EF-A540-B951-05C21D01CA83}" vid="{29AB3FCC-41D1-7F40-88EE-258C699BF440}"/>
    </a:ext>
  </a:extLst>
</a:theme>
</file>

<file path=ppt/theme/theme11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ctrl+s_master_V2">
  <a:themeElements>
    <a:clrScheme name="ctrl+s colors">
      <a:dk1>
        <a:srgbClr val="000000"/>
      </a:dk1>
      <a:lt1>
        <a:srgbClr val="FFFFFF"/>
      </a:lt1>
      <a:dk2>
        <a:srgbClr val="3C6DF5"/>
      </a:dk2>
      <a:lt2>
        <a:srgbClr val="FFFFFF"/>
      </a:lt2>
      <a:accent1>
        <a:srgbClr val="3C6DF5"/>
      </a:accent1>
      <a:accent2>
        <a:srgbClr val="A9A9A9"/>
      </a:accent2>
      <a:accent3>
        <a:srgbClr val="FF0000"/>
      </a:accent3>
      <a:accent4>
        <a:srgbClr val="01A634"/>
      </a:accent4>
      <a:accent5>
        <a:srgbClr val="F9D63A"/>
      </a:accent5>
      <a:accent6>
        <a:srgbClr val="000000"/>
      </a:accent6>
      <a:hlink>
        <a:srgbClr val="3C6DF5"/>
      </a:hlink>
      <a:folHlink>
        <a:srgbClr val="A9A9A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u="none" strike="noStrike" cap="none" spc="0" normalizeH="0" baseline="0" dirty="0" smtClean="0">
            <a:ln>
              <a:noFill/>
            </a:ln>
            <a:solidFill>
              <a:schemeClr val="tx1"/>
            </a:solidFill>
            <a:effectLst/>
            <a:uFillTx/>
            <a:latin typeface="Aeonik" panose="020B0503030300000000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t">
        <a:spAutoFit/>
      </a:bodyPr>
      <a:lstStyle>
        <a:defPPr marL="0" marR="0" indent="0" algn="l" defTabSz="2438338" rtl="0" fontAlgn="auto" latinLnBrk="0" hangingPunct="0">
          <a:lnSpc>
            <a:spcPct val="16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2500" b="0" i="0" dirty="0" smtClean="0">
            <a:solidFill>
              <a:schemeClr val="tx1"/>
            </a:solidFill>
            <a:latin typeface="Aeonik" panose="020B0503030300000000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ctrl+s_master_V2" id="{F574CD41-CA29-6648-BD2A-162042DF2A66}" vid="{816311A4-6B5F-5C43-9C66-87F1775D2A71}"/>
    </a:ext>
  </a:extLst>
</a:theme>
</file>

<file path=ppt/theme/theme13.xml><?xml version="1.0" encoding="utf-8"?>
<a:theme xmlns:a="http://schemas.openxmlformats.org/drawingml/2006/main" name="ctrl+s_master">
  <a:themeElements>
    <a:clrScheme name="ctrl+s colors">
      <a:dk1>
        <a:srgbClr val="000000"/>
      </a:dk1>
      <a:lt1>
        <a:srgbClr val="FFFFFF"/>
      </a:lt1>
      <a:dk2>
        <a:srgbClr val="3C6DF5"/>
      </a:dk2>
      <a:lt2>
        <a:srgbClr val="FFFFFF"/>
      </a:lt2>
      <a:accent1>
        <a:srgbClr val="3C6DF5"/>
      </a:accent1>
      <a:accent2>
        <a:srgbClr val="A9A9A9"/>
      </a:accent2>
      <a:accent3>
        <a:srgbClr val="FF0000"/>
      </a:accent3>
      <a:accent4>
        <a:srgbClr val="01A634"/>
      </a:accent4>
      <a:accent5>
        <a:srgbClr val="F9D63A"/>
      </a:accent5>
      <a:accent6>
        <a:srgbClr val="000000"/>
      </a:accent6>
      <a:hlink>
        <a:srgbClr val="3C6DF5"/>
      </a:hlink>
      <a:folHlink>
        <a:srgbClr val="A9A9A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u="none" strike="noStrike" cap="none" spc="0" normalizeH="0" baseline="0" dirty="0" smtClean="0">
            <a:ln>
              <a:noFill/>
            </a:ln>
            <a:solidFill>
              <a:schemeClr val="tx1"/>
            </a:solidFill>
            <a:effectLst/>
            <a:uFillTx/>
            <a:latin typeface="Aeonik" panose="020B0503030300000000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t">
        <a:spAutoFit/>
      </a:bodyPr>
      <a:lstStyle>
        <a:defPPr marL="0" marR="0" indent="0" algn="l" defTabSz="2438338" rtl="0" fontAlgn="auto" latinLnBrk="0" hangingPunct="0">
          <a:lnSpc>
            <a:spcPct val="16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2500" b="0" i="0" dirty="0" smtClean="0">
            <a:solidFill>
              <a:schemeClr val="tx1"/>
            </a:solidFill>
            <a:latin typeface="Aeonik" panose="020B0503030300000000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owerPointMaster_V2" id="{AA6FBAC7-0CCE-7747-94F6-BF116417DC01}" vid="{8468D9A6-E2E2-364A-BA87-D9A7E49B6719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efault Theme">
  <a:themeElements>
    <a:clrScheme name="ctrl+s colors">
      <a:dk1>
        <a:srgbClr val="000000"/>
      </a:dk1>
      <a:lt1>
        <a:srgbClr val="FFFFFF"/>
      </a:lt1>
      <a:dk2>
        <a:srgbClr val="3C6DF5"/>
      </a:dk2>
      <a:lt2>
        <a:srgbClr val="FFFFFF"/>
      </a:lt2>
      <a:accent1>
        <a:srgbClr val="3C6DF5"/>
      </a:accent1>
      <a:accent2>
        <a:srgbClr val="A9A9A9"/>
      </a:accent2>
      <a:accent3>
        <a:srgbClr val="FF0000"/>
      </a:accent3>
      <a:accent4>
        <a:srgbClr val="01A634"/>
      </a:accent4>
      <a:accent5>
        <a:srgbClr val="F9D63A"/>
      </a:accent5>
      <a:accent6>
        <a:srgbClr val="000000"/>
      </a:accent6>
      <a:hlink>
        <a:srgbClr val="3C6DF5"/>
      </a:hlink>
      <a:folHlink>
        <a:srgbClr val="A9A9A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u="none" strike="noStrike" cap="none" spc="0" normalizeH="0" baseline="0" dirty="0" smtClean="0">
            <a:ln>
              <a:noFill/>
            </a:ln>
            <a:solidFill>
              <a:schemeClr val="tx1"/>
            </a:solidFill>
            <a:effectLst/>
            <a:uFillTx/>
            <a:latin typeface="Aeonik" panose="020B0503030300000000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t">
        <a:spAutoFit/>
      </a:bodyPr>
      <a:lstStyle>
        <a:defPPr marL="0" marR="0" indent="0" algn="l" defTabSz="2438338" rtl="0" fontAlgn="auto" latinLnBrk="0" hangingPunct="0">
          <a:lnSpc>
            <a:spcPct val="150000"/>
          </a:lnSpc>
          <a:spcBef>
            <a:spcPts val="1200"/>
          </a:spcBef>
          <a:spcAft>
            <a:spcPts val="0"/>
          </a:spcAft>
          <a:buClrTx/>
          <a:buSzTx/>
          <a:buFontTx/>
          <a:buNone/>
          <a:tabLst/>
          <a:defRPr sz="2500" b="0" i="0" dirty="0" smtClean="0">
            <a:solidFill>
              <a:schemeClr val="tx1"/>
            </a:solidFill>
            <a:latin typeface="Aeonik" panose="020B0503030300000000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Default Theme" id="{3E72593B-CE3B-644D-81EA-118146FD1882}" vid="{8422F596-1182-7A4B-B42F-2016BE6991F8}"/>
    </a:ext>
  </a:extLst>
</a:theme>
</file>

<file path=ppt/theme/theme4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Default Theme">
  <a:themeElements>
    <a:clrScheme name="ctrl+s colors">
      <a:dk1>
        <a:srgbClr val="000000"/>
      </a:dk1>
      <a:lt1>
        <a:srgbClr val="FFFFFF"/>
      </a:lt1>
      <a:dk2>
        <a:srgbClr val="3C6DF5"/>
      </a:dk2>
      <a:lt2>
        <a:srgbClr val="FFFFFF"/>
      </a:lt2>
      <a:accent1>
        <a:srgbClr val="3C6DF5"/>
      </a:accent1>
      <a:accent2>
        <a:srgbClr val="A9A9A9"/>
      </a:accent2>
      <a:accent3>
        <a:srgbClr val="FF0000"/>
      </a:accent3>
      <a:accent4>
        <a:srgbClr val="01A634"/>
      </a:accent4>
      <a:accent5>
        <a:srgbClr val="F9D63A"/>
      </a:accent5>
      <a:accent6>
        <a:srgbClr val="000000"/>
      </a:accent6>
      <a:hlink>
        <a:srgbClr val="3C6DF5"/>
      </a:hlink>
      <a:folHlink>
        <a:srgbClr val="A9A9A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u="none" strike="noStrike" cap="none" spc="0" normalizeH="0" baseline="0" dirty="0" smtClean="0">
            <a:ln>
              <a:noFill/>
            </a:ln>
            <a:solidFill>
              <a:schemeClr val="tx1"/>
            </a:solidFill>
            <a:effectLst/>
            <a:uFillTx/>
            <a:latin typeface="Aeonik" panose="020B0503030300000000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t">
        <a:spAutoFit/>
      </a:bodyPr>
      <a:lstStyle>
        <a:defPPr marL="0" marR="0" indent="0" algn="l" defTabSz="2438338" rtl="0" fontAlgn="auto" latinLnBrk="0" hangingPunct="0">
          <a:lnSpc>
            <a:spcPct val="16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2500" b="0" i="0" dirty="0" smtClean="0">
            <a:solidFill>
              <a:schemeClr val="tx1"/>
            </a:solidFill>
            <a:latin typeface="Aeonik" panose="020B0503030300000000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Default Theme" id="{0905C85A-10EF-A540-B951-05C21D01CA83}" vid="{29AB3FCC-41D1-7F40-88EE-258C699BF440}"/>
    </a:ext>
  </a:extLst>
</a:theme>
</file>

<file path=ppt/theme/theme6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">
      <a:majorFont>
        <a:latin typeface="Siemens Sans Black"/>
        <a:ea typeface=""/>
        <a:cs typeface=""/>
      </a:majorFont>
      <a:minorFont>
        <a:latin typeface="Siemens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fb_sie-ppt-O365-16x9-standard-eng-v3-4-4.potx" id="{5A84F48E-C9E2-40F1-983C-9518F768C940}" vid="{AD8706AA-35BD-4BF3-9E5B-C7EB9BC3A740}"/>
    </a:ext>
  </a:extLst>
</a:theme>
</file>

<file path=ppt/theme/theme8.xml><?xml version="1.0" encoding="utf-8"?>
<a:theme xmlns:a="http://schemas.openxmlformats.org/drawingml/2006/main" name="2_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Kurzversion-deu-v3-4-4.potx" id="{89C51C60-D8CE-4591-8735-8EDEC48667FC}" vid="{672DD01E-71F3-4B67-8385-703D85812CDD}"/>
    </a:ext>
  </a:extLst>
</a:theme>
</file>

<file path=ppt/theme/theme9.xml><?xml version="1.0" encoding="utf-8"?>
<a:theme xmlns:a="http://schemas.openxmlformats.org/drawingml/2006/main" name="1_ctrl+s_master_V3">
  <a:themeElements>
    <a:clrScheme name="ctrl+s colors">
      <a:dk1>
        <a:srgbClr val="000000"/>
      </a:dk1>
      <a:lt1>
        <a:srgbClr val="FFFFFF"/>
      </a:lt1>
      <a:dk2>
        <a:srgbClr val="3C6DF5"/>
      </a:dk2>
      <a:lt2>
        <a:srgbClr val="FFFFFF"/>
      </a:lt2>
      <a:accent1>
        <a:srgbClr val="3C6DF5"/>
      </a:accent1>
      <a:accent2>
        <a:srgbClr val="A9A9A9"/>
      </a:accent2>
      <a:accent3>
        <a:srgbClr val="FF0000"/>
      </a:accent3>
      <a:accent4>
        <a:srgbClr val="01A634"/>
      </a:accent4>
      <a:accent5>
        <a:srgbClr val="F9D63A"/>
      </a:accent5>
      <a:accent6>
        <a:srgbClr val="000000"/>
      </a:accent6>
      <a:hlink>
        <a:srgbClr val="3C6DF5"/>
      </a:hlink>
      <a:folHlink>
        <a:srgbClr val="A9A9A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216000" tIns="72000" rIns="216000" bIns="72000" numCol="1" spcCol="38100" rtlCol="0" anchor="ctr">
        <a:noAutofit/>
      </a:bodyPr>
      <a:lstStyle>
        <a:defPPr algn="l" defTabSz="825500">
          <a:spcBef>
            <a:spcPts val="600"/>
          </a:spcBef>
          <a:spcAft>
            <a:spcPts val="600"/>
          </a:spcAft>
          <a:defRPr sz="2500" dirty="0" err="1" smtClean="0">
            <a:solidFill>
              <a:schemeClr val="tx1"/>
            </a:solidFill>
            <a:latin typeface="Aeonik" panose="020B0503030300000000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50800" tIns="50800" rIns="50800" bIns="50800" numCol="1" spcCol="38100" rtlCol="0" anchor="t">
        <a:spAutoFit/>
      </a:bodyPr>
      <a:lstStyle>
        <a:defPPr marL="0" marR="0" indent="0" algn="l" defTabSz="2438338" rtl="0" fontAlgn="auto" latinLnBrk="0" hangingPunct="0">
          <a:lnSpc>
            <a:spcPct val="110000"/>
          </a:lnSpc>
          <a:spcBef>
            <a:spcPts val="1800"/>
          </a:spcBef>
          <a:spcAft>
            <a:spcPts val="0"/>
          </a:spcAft>
          <a:buClrTx/>
          <a:buSzTx/>
          <a:buFontTx/>
          <a:buNone/>
          <a:tabLst/>
          <a:defRPr sz="2500" b="0" i="0" dirty="0" err="1" smtClean="0">
            <a:solidFill>
              <a:schemeClr val="tx1"/>
            </a:solidFill>
            <a:latin typeface="Aeonik" panose="020B0503030300000000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ctrl+s_master_V3" id="{1D02428D-255D-054B-9A17-01B38939F8FD}" vid="{6FC071E6-7C74-F245-A116-07DDEB7189F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30aba01-17eb-473b-a83a-6a6dc2583928">
      <Terms xmlns="http://schemas.microsoft.com/office/infopath/2007/PartnerControls"/>
    </lcf76f155ced4ddcb4097134ff3c332f>
    <TaxCatchAll xmlns="0b441f1d-c821-48b2-936c-5909655cfbc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0C9048F08D8304DBE4515FDC4EE6DCA" ma:contentTypeVersion="17" ma:contentTypeDescription="Ein neues Dokument erstellen." ma:contentTypeScope="" ma:versionID="81499aa350a8884e25cfa1c687195bfa">
  <xsd:schema xmlns:xsd="http://www.w3.org/2001/XMLSchema" xmlns:xs="http://www.w3.org/2001/XMLSchema" xmlns:p="http://schemas.microsoft.com/office/2006/metadata/properties" xmlns:ns2="930aba01-17eb-473b-a83a-6a6dc2583928" xmlns:ns3="0b441f1d-c821-48b2-936c-5909655cfbc7" targetNamespace="http://schemas.microsoft.com/office/2006/metadata/properties" ma:root="true" ma:fieldsID="9136535899d500adc6b2f6114cba2115" ns2:_="" ns3:_="">
    <xsd:import namespace="930aba01-17eb-473b-a83a-6a6dc2583928"/>
    <xsd:import namespace="0b441f1d-c821-48b2-936c-5909655cfb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0aba01-17eb-473b-a83a-6a6dc25839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2d22fd60-19af-4d9f-9f0a-feb650c074f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441f1d-c821-48b2-936c-5909655cfbc7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f17ff70-5777-4b04-acb9-69357f929282}" ma:internalName="TaxCatchAll" ma:showField="CatchAllData" ma:web="0b441f1d-c821-48b2-936c-5909655cfb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C0622C-9479-4058-91EE-85D79266FFAB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0b441f1d-c821-48b2-936c-5909655cfbc7"/>
    <ds:schemaRef ds:uri="930aba01-17eb-473b-a83a-6a6dc2583928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024E32A-2015-426C-B6F2-852BFF39D2CD}"/>
</file>

<file path=customXml/itemProps3.xml><?xml version="1.0" encoding="utf-8"?>
<ds:datastoreItem xmlns:ds="http://schemas.openxmlformats.org/officeDocument/2006/customXml" ds:itemID="{3DF372E3-AC28-4F73-8C47-69043BF8597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trl+s_master_V3</Template>
  <TotalTime>0</TotalTime>
  <Words>3210</Words>
  <Application>Microsoft Macintosh PowerPoint</Application>
  <PresentationFormat>Benutzerdefiniert</PresentationFormat>
  <Paragraphs>449</Paragraphs>
  <Slides>34</Slides>
  <Notes>24</Notes>
  <HiddenSlides>5</HiddenSlides>
  <MMClips>0</MMClips>
  <ScaleCrop>false</ScaleCrop>
  <HeadingPairs>
    <vt:vector size="8" baseType="variant">
      <vt:variant>
        <vt:lpstr>Verwendete Schriftarten</vt:lpstr>
      </vt:variant>
      <vt:variant>
        <vt:i4>19</vt:i4>
      </vt:variant>
      <vt:variant>
        <vt:lpstr>Design</vt:lpstr>
      </vt:variant>
      <vt:variant>
        <vt:i4>1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67" baseType="lpstr">
      <vt:lpstr>-apple-system</vt:lpstr>
      <vt:lpstr>Aeonik</vt:lpstr>
      <vt:lpstr>Aeonik Fono</vt:lpstr>
      <vt:lpstr>Aeonik Fono Regular</vt:lpstr>
      <vt:lpstr>Aeonik Light</vt:lpstr>
      <vt:lpstr>Aeonik Medium</vt:lpstr>
      <vt:lpstr>Aeonik Regular</vt:lpstr>
      <vt:lpstr>AeonikFono-Bold</vt:lpstr>
      <vt:lpstr>Aptos</vt:lpstr>
      <vt:lpstr>Arial</vt:lpstr>
      <vt:lpstr>Calibri</vt:lpstr>
      <vt:lpstr>Helvetica Neue</vt:lpstr>
      <vt:lpstr>Helvetica Neue Medium</vt:lpstr>
      <vt:lpstr>Siemens Sans</vt:lpstr>
      <vt:lpstr>Siemens Sans Black</vt:lpstr>
      <vt:lpstr>Söhne</vt:lpstr>
      <vt:lpstr>Suisse Int'l Mono</vt:lpstr>
      <vt:lpstr>Wingdings</vt:lpstr>
      <vt:lpstr>ヒラギノ角ゴ Pro W3</vt:lpstr>
      <vt:lpstr>ctrl+s_master_V3</vt:lpstr>
      <vt:lpstr>Siemens 2022</vt:lpstr>
      <vt:lpstr>Default Theme</vt:lpstr>
      <vt:lpstr>Siemens 2020</vt:lpstr>
      <vt:lpstr>1_Default Theme</vt:lpstr>
      <vt:lpstr>2_Siemens 2020</vt:lpstr>
      <vt:lpstr>1_Siemens 2022</vt:lpstr>
      <vt:lpstr>2_Siemens 2022</vt:lpstr>
      <vt:lpstr>1_ctrl+s_master_V3</vt:lpstr>
      <vt:lpstr>2_Default Theme</vt:lpstr>
      <vt:lpstr>1_Siemens 2020</vt:lpstr>
      <vt:lpstr>ctrl+s_master_V2</vt:lpstr>
      <vt:lpstr>ctrl+s_master</vt:lpstr>
      <vt:lpstr>think-cell Slide</vt:lpstr>
      <vt:lpstr>PowerPoint-Präsentation</vt:lpstr>
      <vt:lpstr>PowerPoint-Präsentation</vt:lpstr>
      <vt:lpstr>PowerPoint-Präsentation</vt:lpstr>
      <vt:lpstr>We empower our customers to become more competitive, resilient, and sustainable</vt:lpstr>
      <vt:lpstr>Well on track to achieve net-zero for own operations by 2030 and intensively working towards net-zero by 2050 in our scope 3</vt:lpstr>
      <vt:lpstr>Consistent steps toward a net-zero supply chain</vt:lpstr>
      <vt:lpstr>Clear expectations towards our supply chain partners</vt:lpstr>
      <vt:lpstr>Carbon Web Assessment (CWA) designed to support our suppliers with their CO2 reduction efforts and to enable our 4.000+ procurement reducing their supplier’s footprint</vt:lpstr>
      <vt:lpstr>Carbon Web Assessment follows an iterative cycle of assessing emissions, detecting biggest contributors and developing action plans</vt:lpstr>
      <vt:lpstr>PowerPoint-Präsentation</vt:lpstr>
      <vt:lpstr>PowerPoint-Präsentation</vt:lpstr>
      <vt:lpstr>PowerPoint-Präsentation</vt:lpstr>
      <vt:lpstr>PowerPoint-Präsentation</vt:lpstr>
      <vt:lpstr>DECISION MAKING: “supplier+s” allows companies to define their individual net zero path and buyers to make a sourcing decision</vt:lpstr>
      <vt:lpstr>DECISION MAKING: “supplier+s” allows companies to define their individual net zero path and buyers to make a sourcing decision</vt:lpstr>
      <vt:lpstr>PowerPoint-Präsentation</vt:lpstr>
      <vt:lpstr>item+s and supplier+s function stand alone, but offer additional insights when combined</vt:lpstr>
      <vt:lpstr>SCM Sustainability Platform to support 4.000+ buyers driving sustainability. API to supplier+s ensures integration and resource efficient operation   </vt:lpstr>
      <vt:lpstr>PowerPoint-Präsentation</vt:lpstr>
      <vt:lpstr>Achievements and way forward</vt:lpstr>
      <vt:lpstr>PowerPoint-Präsentation</vt:lpstr>
      <vt:lpstr>Thank you.</vt:lpstr>
      <vt:lpstr>PowerPoint-Präsentation</vt:lpstr>
      <vt:lpstr>PowerPoint-Präsentation</vt:lpstr>
      <vt:lpstr>PowerPoint-Präsentation</vt:lpstr>
      <vt:lpstr>DECISION MAKING: “supplier+s” allows companies to define their individual net zero path and buyers to make a sourcing decision</vt:lpstr>
      <vt:lpstr>DECISION MAKING: “supplier+s” allows companies to define their individual net zero path and buyers to make a sourcing decision</vt:lpstr>
      <vt:lpstr>NOT A SIEMENS PLATFORM ANYMORE: we transferred it to the neutral third-party provider “ctrl+s” to offer it to our “tier 2+” suppliers and other peers and make it a standard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mas Janvier</dc:creator>
  <cp:lastModifiedBy>Hannah Billenstein</cp:lastModifiedBy>
  <cp:revision>1</cp:revision>
  <dcterms:created xsi:type="dcterms:W3CDTF">2025-02-17T10:45:46Z</dcterms:created>
  <dcterms:modified xsi:type="dcterms:W3CDTF">2025-06-18T09:5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C9048F08D8304DBE4515FDC4EE6DCA</vt:lpwstr>
  </property>
  <property fmtid="{D5CDD505-2E9C-101B-9397-08002B2CF9AE}" pid="3" name="MediaServiceImageTags">
    <vt:lpwstr/>
  </property>
</Properties>
</file>